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theme/theme3.xml" ContentType="application/vnd.openxmlformats-officedocument.theme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theme/theme4.xml" ContentType="application/vnd.openxmlformats-officedocument.theme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theme/theme5.xml" ContentType="application/vnd.openxmlformats-officedocument.theme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731" r:id="rId2"/>
    <p:sldMasterId id="2147483799" r:id="rId3"/>
    <p:sldMasterId id="2147483872" r:id="rId4"/>
    <p:sldMasterId id="2147483940" r:id="rId5"/>
    <p:sldMasterId id="2147483996" r:id="rId6"/>
  </p:sldMasterIdLst>
  <p:notesMasterIdLst>
    <p:notesMasterId r:id="rId30"/>
  </p:notesMasterIdLst>
  <p:sldIdLst>
    <p:sldId id="256" r:id="rId7"/>
    <p:sldId id="422" r:id="rId8"/>
    <p:sldId id="267" r:id="rId9"/>
    <p:sldId id="410" r:id="rId10"/>
    <p:sldId id="2132737358" r:id="rId11"/>
    <p:sldId id="2132737359" r:id="rId12"/>
    <p:sldId id="265" r:id="rId13"/>
    <p:sldId id="425" r:id="rId14"/>
    <p:sldId id="426" r:id="rId15"/>
    <p:sldId id="2132737360" r:id="rId16"/>
    <p:sldId id="2132737361" r:id="rId17"/>
    <p:sldId id="2132737356" r:id="rId18"/>
    <p:sldId id="413" r:id="rId19"/>
    <p:sldId id="2132737357" r:id="rId20"/>
    <p:sldId id="416" r:id="rId21"/>
    <p:sldId id="2132737355" r:id="rId22"/>
    <p:sldId id="417" r:id="rId23"/>
    <p:sldId id="423" r:id="rId24"/>
    <p:sldId id="270" r:id="rId25"/>
    <p:sldId id="403" r:id="rId26"/>
    <p:sldId id="424" r:id="rId27"/>
    <p:sldId id="420" r:id="rId28"/>
    <p:sldId id="421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23F0A4A-8351-164D-8F81-55D4A715ED4B}">
          <p14:sldIdLst>
            <p14:sldId id="256"/>
            <p14:sldId id="422"/>
            <p14:sldId id="267"/>
            <p14:sldId id="410"/>
            <p14:sldId id="2132737358"/>
            <p14:sldId id="2132737359"/>
            <p14:sldId id="265"/>
            <p14:sldId id="425"/>
            <p14:sldId id="426"/>
            <p14:sldId id="2132737360"/>
            <p14:sldId id="2132737361"/>
            <p14:sldId id="2132737356"/>
            <p14:sldId id="413"/>
            <p14:sldId id="2132737357"/>
            <p14:sldId id="416"/>
            <p14:sldId id="2132737355"/>
            <p14:sldId id="417"/>
            <p14:sldId id="423"/>
            <p14:sldId id="270"/>
            <p14:sldId id="403"/>
            <p14:sldId id="424"/>
            <p14:sldId id="420"/>
            <p14:sldId id="42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C137672-EC2B-834A-A30C-41E96990E1FF}" v="18" dt="2022-04-22T10:47:13.073"/>
    <p1510:client id="{C29AD895-C7EC-47D0-9E8C-ED2F0151DD8E}" v="1255" dt="2022-04-21T14:26:12.7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364"/>
    <p:restoredTop sz="94718"/>
  </p:normalViewPr>
  <p:slideViewPr>
    <p:cSldViewPr snapToGrid="0" snapToObjects="1">
      <p:cViewPr varScale="1">
        <p:scale>
          <a:sx n="104" d="100"/>
          <a:sy n="104" d="100"/>
        </p:scale>
        <p:origin x="65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notesMaster" Target="notesMasters/notesMaster1.xml"/><Relationship Id="rId35" Type="http://schemas.microsoft.com/office/2015/10/relationships/revisionInfo" Target="revisionInfo.xml"/><Relationship Id="rId8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9A7579-3F8A-0D44-8C5F-8FE8AE9143F2}" type="datetimeFigureOut">
              <a:rPr lang="en-US" smtClean="0"/>
              <a:t>4/25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5D84CF-D18E-FD4C-BC50-C9991D48E2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32411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Demand</a:t>
            </a:r>
          </a:p>
          <a:p>
            <a:r>
              <a:rPr lang="en-US"/>
              <a:t>Capacity</a:t>
            </a:r>
          </a:p>
          <a:p>
            <a:r>
              <a:rPr lang="en-US"/>
              <a:t>Scheduling</a:t>
            </a:r>
          </a:p>
          <a:p>
            <a:endParaRPr lang="en-US"/>
          </a:p>
          <a:p>
            <a:r>
              <a:rPr lang="en-US"/>
              <a:t>Rout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5D84CF-D18E-FD4C-BC50-C9991D48E20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34911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5D84CF-D18E-FD4C-BC50-C9991D48E20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06322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5D84CF-D18E-FD4C-BC50-C9991D48E20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96809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5D84CF-D18E-FD4C-BC50-C9991D48E20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7980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Actual repairs will take place at customer hom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echnicians will start day from the FSL locations and return at end of the day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Parts could be ordered/stocked at the FSL lo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A03EAB8-BD40-419B-B560-8622ED1038D3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95024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5D84CF-D18E-FD4C-BC50-C9991D48E203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40877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Actual repairs will take place at customer hom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echnicians will start day from the FSL locations and return at end of the day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Parts could be ordered/stocked at the FSL lo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A03EAB8-BD40-419B-B560-8622ED1038D3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31930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Actual repairs will take place at customer hom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echnicians will start day from the FSL locations and return at end of the day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Parts could be ordered/stocked at the FSL lo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A03EAB8-BD40-419B-B560-8622ED1038D3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69696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Actual repairs will take place at customer hom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echnicians will start day from the FSL locations and return at end of the day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Parts could be ordered/stocked at the FSL lo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A03EAB8-BD40-419B-B560-8622ED1038D3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56445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Agenda, Section Layou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sz="11500" b="0" i="0" spc="100">
                <a:solidFill>
                  <a:srgbClr val="FFFFFF"/>
                </a:solidFill>
                <a:latin typeface="+mj-lt"/>
              </a:rPr>
              <a:t>TITLE, AGENDA, &amp; SECTION LAYOU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0C9D3A-9A1A-C140-B0F7-9A8C63C4D4BD}"/>
              </a:ext>
            </a:extLst>
          </p:cNvPr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sz="1100" b="0" i="0" kern="1200">
                <a:solidFill>
                  <a:schemeClr val="bg1">
                    <a:lumMod val="85000"/>
                  </a:schemeClr>
                </a:solidFill>
                <a:effectLst/>
                <a:latin typeface="+mn-lt"/>
                <a:ea typeface="+mn-ea"/>
                <a:cs typeface="+mn-cs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22207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9747BD37-3BEA-40D2-8343-2CB995B91822}"/>
              </a:ext>
            </a:extLst>
          </p:cNvPr>
          <p:cNvSpPr/>
          <p:nvPr/>
        </p:nvSpPr>
        <p:spPr>
          <a:xfrm>
            <a:off x="0" y="0"/>
            <a:ext cx="2286000" cy="17811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4C88EA-B1EA-4FA0-8279-C122B539260B}"/>
              </a:ext>
            </a:extLst>
          </p:cNvPr>
          <p:cNvSpPr/>
          <p:nvPr/>
        </p:nvSpPr>
        <p:spPr>
          <a:xfrm>
            <a:off x="0" y="1781175"/>
            <a:ext cx="2286000" cy="5076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781574" y="446744"/>
            <a:ext cx="6298925" cy="2147594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/>
            </a:br>
            <a:r>
              <a:t>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2789057" y="2762591"/>
            <a:ext cx="6291442" cy="67405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D17E435-7649-47BA-B3A0-AA4F57BBB1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2879" y="273607"/>
            <a:ext cx="1944810" cy="1428584"/>
          </a:xfrm>
        </p:spPr>
        <p:txBody>
          <a:bodyPr/>
          <a:lstStyle>
            <a:lvl1pPr algn="ctr">
              <a:spcBef>
                <a:spcPts val="0"/>
              </a:spcBef>
              <a:defRPr sz="8000" b="0">
                <a:solidFill>
                  <a:schemeClr val="bg1"/>
                </a:solidFill>
              </a:defRPr>
            </a:lvl1pPr>
          </a:lstStyle>
          <a:p>
            <a:pPr lvl="0"/>
            <a:r>
              <a:t>00</a:t>
            </a:r>
          </a:p>
        </p:txBody>
      </p:sp>
      <p:grpSp>
        <p:nvGrpSpPr>
          <p:cNvPr id="11" name="asurion logo">
            <a:extLst>
              <a:ext uri="{FF2B5EF4-FFF2-40B4-BE49-F238E27FC236}">
                <a16:creationId xmlns:a16="http://schemas.microsoft.com/office/drawing/2014/main" id="{A3635D92-5B65-2244-9F4A-197733B477F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1" y="6390186"/>
            <a:ext cx="918000" cy="213052"/>
            <a:chOff x="316" y="3952"/>
            <a:chExt cx="586" cy="136"/>
          </a:xfrm>
          <a:solidFill>
            <a:schemeClr val="bg1"/>
          </a:solidFill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B1F885A6-A84D-B844-8EE9-AD1C600D6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C9218EE1-3AC2-944C-A463-34EE6FAF23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9AAFFDFE-20B9-1A4C-BDD3-7E5C0F475D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D1C347CB-3AB6-2C40-9358-5826A5285D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9CF999C3-DB3C-4440-80E6-A0A67F465D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6B7765C3-5894-2748-B451-75EC0494E7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B723ACE3-78D1-A44F-9535-463CCF9DC8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3772804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053720D-9F4D-4684-9327-5523A748B8A3}"/>
              </a:ext>
            </a:extLst>
          </p:cNvPr>
          <p:cNvCxnSpPr/>
          <p:nvPr/>
        </p:nvCxnSpPr>
        <p:spPr>
          <a:xfrm>
            <a:off x="500062" y="4316231"/>
            <a:ext cx="5472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BDE24C3-99CC-479E-BF50-328B4BB36E5D}"/>
              </a:ext>
            </a:extLst>
          </p:cNvPr>
          <p:cNvCxnSpPr/>
          <p:nvPr/>
        </p:nvCxnSpPr>
        <p:spPr>
          <a:xfrm>
            <a:off x="6223001" y="4316231"/>
            <a:ext cx="5472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567A20FC-53DE-40AE-9086-6CA177CE7A0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0062" y="1788962"/>
            <a:ext cx="5472000" cy="234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44F5ED6C-5729-4BCA-B641-0DE3EA8059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23001" y="1788962"/>
            <a:ext cx="5472000" cy="234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D5707C-19B8-4344-919E-79F1D3BD71A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6308FA-1900-4A15-B816-41EE190CD43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23BD6D-CC29-4E45-990E-0D516E8F9C2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0063" y="4419255"/>
            <a:ext cx="5471999" cy="14624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1DABEC5-ADD1-4364-9B7B-AEB94D1E077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23001" y="4419255"/>
            <a:ext cx="5471999" cy="14624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97659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mag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053720D-9F4D-4684-9327-5523A748B8A3}"/>
              </a:ext>
            </a:extLst>
          </p:cNvPr>
          <p:cNvCxnSpPr/>
          <p:nvPr/>
        </p:nvCxnSpPr>
        <p:spPr>
          <a:xfrm>
            <a:off x="500063" y="4316231"/>
            <a:ext cx="3562351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BDE24C3-99CC-479E-BF50-328B4BB36E5D}"/>
              </a:ext>
            </a:extLst>
          </p:cNvPr>
          <p:cNvCxnSpPr/>
          <p:nvPr/>
        </p:nvCxnSpPr>
        <p:spPr>
          <a:xfrm>
            <a:off x="4314825" y="4316231"/>
            <a:ext cx="3562351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307E561-4A26-4F9F-8A63-FD201FA0C0FD}"/>
              </a:ext>
            </a:extLst>
          </p:cNvPr>
          <p:cNvCxnSpPr/>
          <p:nvPr/>
        </p:nvCxnSpPr>
        <p:spPr>
          <a:xfrm>
            <a:off x="8129587" y="4316231"/>
            <a:ext cx="3562351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567A20FC-53DE-40AE-9086-6CA177CE7A0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0063" y="1788962"/>
            <a:ext cx="3562350" cy="234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44F5ED6C-5729-4BCA-B641-0DE3EA8059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14826" y="1788962"/>
            <a:ext cx="3562350" cy="234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669F2190-4991-4ABB-B5C1-8535467AFA5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29588" y="1788962"/>
            <a:ext cx="3562350" cy="234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22F74907-9901-41D8-B02E-D5156ACAC59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CD76F14-B7C1-4783-A9BB-4763BFA8875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D65ED8-5F56-41D5-B431-89361D00D6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0064" y="4419255"/>
            <a:ext cx="3600000" cy="14624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4799D4C9-22E1-4D31-B1A1-BDD184F710E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14826" y="4419255"/>
            <a:ext cx="3600000" cy="14624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1E8CE649-5034-45B6-93BA-28668391D8E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29589" y="4419255"/>
            <a:ext cx="3600000" cy="14624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668970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22F74907-9901-41D8-B02E-D5156ACAC59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CD76F14-B7C1-4783-A9BB-4763BFA8875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86DF79B9-639E-4799-815D-476F130D30D5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xfrm>
            <a:off x="500063" y="1481655"/>
            <a:ext cx="5056675" cy="78676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24C50ECB-AA26-4399-9645-112A108CA439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500063" y="2658741"/>
            <a:ext cx="2635250" cy="2127572"/>
          </a:xfrm>
        </p:spPr>
        <p:txBody>
          <a:bodyPr/>
          <a:lstStyle/>
          <a:p>
            <a:r>
              <a:rPr lang="en-US"/>
              <a:t>Click icon to add chart</a:t>
            </a:r>
            <a:endParaRPr/>
          </a:p>
        </p:txBody>
      </p:sp>
      <p:sp>
        <p:nvSpPr>
          <p:cNvPr id="24" name="Chart Placeholder 4">
            <a:extLst>
              <a:ext uri="{FF2B5EF4-FFF2-40B4-BE49-F238E27FC236}">
                <a16:creationId xmlns:a16="http://schemas.microsoft.com/office/drawing/2014/main" id="{5F3EB2C3-AC8E-4242-A032-7D9830F6FEBA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3280586" y="2658741"/>
            <a:ext cx="2635250" cy="2127572"/>
          </a:xfrm>
        </p:spPr>
        <p:txBody>
          <a:bodyPr/>
          <a:lstStyle/>
          <a:p>
            <a:r>
              <a:rPr lang="en-US"/>
              <a:t>Click icon to add chart</a:t>
            </a:r>
            <a:endParaRPr/>
          </a:p>
        </p:txBody>
      </p:sp>
      <p:sp>
        <p:nvSpPr>
          <p:cNvPr id="26" name="Chart Placeholder 4">
            <a:extLst>
              <a:ext uri="{FF2B5EF4-FFF2-40B4-BE49-F238E27FC236}">
                <a16:creationId xmlns:a16="http://schemas.microsoft.com/office/drawing/2014/main" id="{766F0A22-4D5D-4D16-9178-1D5760AEA8C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089101" y="2658741"/>
            <a:ext cx="2635250" cy="2127572"/>
          </a:xfrm>
        </p:spPr>
        <p:txBody>
          <a:bodyPr/>
          <a:lstStyle/>
          <a:p>
            <a:r>
              <a:rPr lang="en-US"/>
              <a:t>Click icon to add chart</a:t>
            </a:r>
            <a:endParaRPr/>
          </a:p>
        </p:txBody>
      </p:sp>
      <p:sp>
        <p:nvSpPr>
          <p:cNvPr id="28" name="Chart Placeholder 4">
            <a:extLst>
              <a:ext uri="{FF2B5EF4-FFF2-40B4-BE49-F238E27FC236}">
                <a16:creationId xmlns:a16="http://schemas.microsoft.com/office/drawing/2014/main" id="{398AB6F5-E5DE-4AB5-9469-650F5C7BC02F}"/>
              </a:ext>
            </a:extLst>
          </p:cNvPr>
          <p:cNvSpPr>
            <a:spLocks noGrp="1"/>
          </p:cNvSpPr>
          <p:nvPr>
            <p:ph type="chart" sz="quarter" idx="29"/>
          </p:nvPr>
        </p:nvSpPr>
        <p:spPr>
          <a:xfrm>
            <a:off x="8897615" y="2658741"/>
            <a:ext cx="2635250" cy="2127572"/>
          </a:xfrm>
        </p:spPr>
        <p:txBody>
          <a:bodyPr/>
          <a:lstStyle/>
          <a:p>
            <a:r>
              <a:rPr lang="en-US"/>
              <a:t>Click icon to add chart</a:t>
            </a:r>
            <a:endParaRPr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A20137-9C0C-4DA4-BD4C-2707DA74673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00064" y="4861249"/>
            <a:ext cx="2635021" cy="1020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AFBC60B-11E0-4694-8DBF-0DD62EDB6B4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280587" y="4861249"/>
            <a:ext cx="2635021" cy="1020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EF1E8D3-913B-4B30-9DFE-B66976F583F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089101" y="4861249"/>
            <a:ext cx="2635021" cy="1020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7643B64F-FD95-47DA-A080-4E4F73C9AFE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897616" y="4861249"/>
            <a:ext cx="2635021" cy="1020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59896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2"/>
          <p:cNvSpPr>
            <a:spLocks noGrp="1"/>
          </p:cNvSpPr>
          <p:nvPr>
            <p:ph type="body" idx="13"/>
          </p:nvPr>
        </p:nvSpPr>
        <p:spPr>
          <a:xfrm>
            <a:off x="500063" y="1483200"/>
            <a:ext cx="5470526" cy="786765"/>
          </a:xfrm>
        </p:spPr>
        <p:txBody>
          <a:bodyPr anchor="t" anchorCtr="0"/>
          <a:lstStyle>
            <a:lvl1pPr marL="0" indent="0"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4"/>
          </p:nvPr>
        </p:nvSpPr>
        <p:spPr>
          <a:xfrm>
            <a:off x="500063" y="2520950"/>
            <a:ext cx="5470525" cy="3370263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5"/>
          </p:nvPr>
        </p:nvSpPr>
        <p:spPr>
          <a:xfrm>
            <a:off x="6221414" y="2520950"/>
            <a:ext cx="5471476" cy="3370263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F1517A8-590F-479B-8350-B8C027A8A9C5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221412" y="1483200"/>
            <a:ext cx="5471477" cy="786765"/>
          </a:xfrm>
        </p:spPr>
        <p:txBody>
          <a:bodyPr anchor="t" anchorCtr="0"/>
          <a:lstStyle>
            <a:lvl1pPr marL="0" indent="0"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6FA19B-A4D4-453E-A2F4-59F228B33EC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1EE0A0-3F25-4EDE-BBFD-3C1C36E0BBA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30586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Qu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C235105-E2BB-B241-872E-8B764C2735C7}"/>
              </a:ext>
            </a:extLst>
          </p:cNvPr>
          <p:cNvSpPr/>
          <p:nvPr/>
        </p:nvSpPr>
        <p:spPr>
          <a:xfrm>
            <a:off x="6096000" y="0"/>
            <a:ext cx="3050607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8EFCE1D-E624-4B47-B86B-57779E9F52FC}"/>
              </a:ext>
            </a:extLst>
          </p:cNvPr>
          <p:cNvSpPr/>
          <p:nvPr/>
        </p:nvSpPr>
        <p:spPr>
          <a:xfrm>
            <a:off x="9141393" y="0"/>
            <a:ext cx="3050607" cy="3429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9400735-3BA6-1C44-B9F2-D8576A3F811D}"/>
              </a:ext>
            </a:extLst>
          </p:cNvPr>
          <p:cNvSpPr/>
          <p:nvPr/>
        </p:nvSpPr>
        <p:spPr>
          <a:xfrm>
            <a:off x="6096000" y="3429000"/>
            <a:ext cx="3050607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3CAFAB7-8E16-754B-90EC-4F2AF27FB0CC}"/>
              </a:ext>
            </a:extLst>
          </p:cNvPr>
          <p:cNvSpPr/>
          <p:nvPr/>
        </p:nvSpPr>
        <p:spPr>
          <a:xfrm>
            <a:off x="9141393" y="3429000"/>
            <a:ext cx="3050607" cy="3429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3689"/>
            <a:ext cx="5056675" cy="3329423"/>
          </a:xfrm>
        </p:spPr>
        <p:txBody>
          <a:bodyPr spcCol="54000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t>Asurion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046C3961-C530-D643-976B-752E6A3E6D3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43361" y="2144693"/>
            <a:ext cx="2355884" cy="59979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E06E42E7-38E9-9445-A365-51FFE703735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43361" y="5395158"/>
            <a:ext cx="2355884" cy="59979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ECAB8C3D-C645-6B4F-8943-0C2FBE84B98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488754" y="2144693"/>
            <a:ext cx="2355884" cy="59979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3601AE7F-A10B-EB41-8F5A-F2B00DA6B65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88754" y="5395158"/>
            <a:ext cx="2355884" cy="59979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FD3E78BC-709E-E147-87C2-021736A7535D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801042" y="466344"/>
            <a:ext cx="1640752" cy="1495306"/>
          </a:xfrm>
        </p:spPr>
        <p:txBody>
          <a:bodyPr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t>Content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ED8ABA53-CD5D-5D4A-8042-B0835E310760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9851649" y="466344"/>
            <a:ext cx="1640752" cy="1495306"/>
          </a:xfrm>
        </p:spPr>
        <p:txBody>
          <a:bodyPr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t>Content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45E06A9-602E-0A44-84B6-62D407BE4F57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6801042" y="3716809"/>
            <a:ext cx="1640752" cy="1495306"/>
          </a:xfrm>
        </p:spPr>
        <p:txBody>
          <a:bodyPr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t>Content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D79F0669-4F9E-E646-A67C-2FCEBFA523D4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9851649" y="3716809"/>
            <a:ext cx="1640752" cy="1495306"/>
          </a:xfrm>
        </p:spPr>
        <p:txBody>
          <a:bodyPr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861771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Content and Qu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3689"/>
            <a:ext cx="5056675" cy="3329423"/>
          </a:xfrm>
        </p:spPr>
        <p:txBody>
          <a:bodyPr spcCol="54000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t>Asurion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4F72CA0-107F-4A4A-862E-98C88AC732F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3044825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687F16B1-C282-434C-AD8F-D67D33B93ED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47175" y="0"/>
            <a:ext cx="3044825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674F1A84-A715-1642-9A6D-724C0D4B3C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3044825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22454BBB-552C-1443-823A-2C496CBE510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47175" y="3429000"/>
            <a:ext cx="3044825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43328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4C8F12B-D471-4524-A21D-E2E0C4A3A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203B0C-11E9-4FDC-A004-C78D9EB13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37163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5DBBB8B-648D-4197-97B9-AE71487D25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5924E6F-6328-463D-B419-65509C9FE4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098916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598678-86C0-48BA-A39A-FF8C08834E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1E9215-17E8-49B1-A387-1E2239FBC9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13488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with iPh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monitor&#10;&#10;Description automatically generated">
            <a:extLst>
              <a:ext uri="{FF2B5EF4-FFF2-40B4-BE49-F238E27FC236}">
                <a16:creationId xmlns:a16="http://schemas.microsoft.com/office/drawing/2014/main" id="{7128FF66-3EA6-42D2-A583-39E18B57E9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914" y="1095375"/>
            <a:ext cx="2962122" cy="4536000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00064" y="5288239"/>
            <a:ext cx="3600000" cy="783091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3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314826" y="5288239"/>
            <a:ext cx="3600000" cy="783091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1ECDB9F2-27F4-42DB-89BF-A79294975B4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29588" y="5288239"/>
            <a:ext cx="3600000" cy="783091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5179A366-3852-4680-B35F-C5CAF0ED315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65109" y="1810291"/>
            <a:ext cx="1452882" cy="3088800"/>
          </a:xfrm>
          <a:custGeom>
            <a:avLst/>
            <a:gdLst>
              <a:gd name="connsiteX0" fmla="*/ 202870 w 1452882"/>
              <a:gd name="connsiteY0" fmla="*/ 0 h 3088800"/>
              <a:gd name="connsiteX1" fmla="*/ 307352 w 1452882"/>
              <a:gd name="connsiteY1" fmla="*/ 0 h 3088800"/>
              <a:gd name="connsiteX2" fmla="*/ 321573 w 1452882"/>
              <a:gd name="connsiteY2" fmla="*/ 16508 h 3088800"/>
              <a:gd name="connsiteX3" fmla="*/ 363366 w 1452882"/>
              <a:gd name="connsiteY3" fmla="*/ 98181 h 3088800"/>
              <a:gd name="connsiteX4" fmla="*/ 416768 w 1452882"/>
              <a:gd name="connsiteY4" fmla="*/ 106580 h 3088800"/>
              <a:gd name="connsiteX5" fmla="*/ 1056431 w 1452882"/>
              <a:gd name="connsiteY5" fmla="*/ 106580 h 3088800"/>
              <a:gd name="connsiteX6" fmla="*/ 1095902 w 1452882"/>
              <a:gd name="connsiteY6" fmla="*/ 87755 h 3088800"/>
              <a:gd name="connsiteX7" fmla="*/ 1130439 w 1452882"/>
              <a:gd name="connsiteY7" fmla="*/ 9847 h 3088800"/>
              <a:gd name="connsiteX8" fmla="*/ 1147562 w 1452882"/>
              <a:gd name="connsiteY8" fmla="*/ 579 h 3088800"/>
              <a:gd name="connsiteX9" fmla="*/ 1262202 w 1452882"/>
              <a:gd name="connsiteY9" fmla="*/ 579 h 3088800"/>
              <a:gd name="connsiteX10" fmla="*/ 1389032 w 1452882"/>
              <a:gd name="connsiteY10" fmla="*/ 62558 h 3088800"/>
              <a:gd name="connsiteX11" fmla="*/ 1440112 w 1452882"/>
              <a:gd name="connsiteY11" fmla="*/ 140466 h 3088800"/>
              <a:gd name="connsiteX12" fmla="*/ 1452882 w 1452882"/>
              <a:gd name="connsiteY12" fmla="*/ 200128 h 3088800"/>
              <a:gd name="connsiteX13" fmla="*/ 1452882 w 1452882"/>
              <a:gd name="connsiteY13" fmla="*/ 2893886 h 3088800"/>
              <a:gd name="connsiteX14" fmla="*/ 1400061 w 1452882"/>
              <a:gd name="connsiteY14" fmla="*/ 3015816 h 3088800"/>
              <a:gd name="connsiteX15" fmla="*/ 1327794 w 1452882"/>
              <a:gd name="connsiteY15" fmla="*/ 3069396 h 3088800"/>
              <a:gd name="connsiteX16" fmla="*/ 1250013 w 1452882"/>
              <a:gd name="connsiteY16" fmla="*/ 3088800 h 3088800"/>
              <a:gd name="connsiteX17" fmla="*/ 195904 w 1452882"/>
              <a:gd name="connsiteY17" fmla="*/ 3088800 h 3088800"/>
              <a:gd name="connsiteX18" fmla="*/ 120445 w 1452882"/>
              <a:gd name="connsiteY18" fmla="*/ 3067368 h 3088800"/>
              <a:gd name="connsiteX19" fmla="*/ 48178 w 1452882"/>
              <a:gd name="connsiteY19" fmla="*/ 3008865 h 3088800"/>
              <a:gd name="connsiteX20" fmla="*/ 0 w 1452882"/>
              <a:gd name="connsiteY20" fmla="*/ 2877957 h 3088800"/>
              <a:gd name="connsiteX21" fmla="*/ 871 w 1452882"/>
              <a:gd name="connsiteY21" fmla="*/ 204472 h 3088800"/>
              <a:gd name="connsiteX22" fmla="*/ 17704 w 1452882"/>
              <a:gd name="connsiteY22" fmla="*/ 126854 h 3088800"/>
              <a:gd name="connsiteX23" fmla="*/ 68784 w 1452882"/>
              <a:gd name="connsiteY23" fmla="*/ 58503 h 3088800"/>
              <a:gd name="connsiteX24" fmla="*/ 202870 w 1452882"/>
              <a:gd name="connsiteY24" fmla="*/ 0 h 30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52882" h="3088800">
                <a:moveTo>
                  <a:pt x="202870" y="0"/>
                </a:moveTo>
                <a:cubicBezTo>
                  <a:pt x="307352" y="0"/>
                  <a:pt x="307352" y="0"/>
                  <a:pt x="307352" y="0"/>
                </a:cubicBezTo>
                <a:cubicBezTo>
                  <a:pt x="307352" y="0"/>
                  <a:pt x="317220" y="2896"/>
                  <a:pt x="321573" y="16508"/>
                </a:cubicBezTo>
                <a:cubicBezTo>
                  <a:pt x="325926" y="30121"/>
                  <a:pt x="339567" y="82542"/>
                  <a:pt x="363366" y="98181"/>
                </a:cubicBezTo>
                <a:cubicBezTo>
                  <a:pt x="382231" y="110345"/>
                  <a:pt x="416768" y="106580"/>
                  <a:pt x="416768" y="106580"/>
                </a:cubicBezTo>
                <a:cubicBezTo>
                  <a:pt x="1056431" y="106580"/>
                  <a:pt x="1056431" y="106580"/>
                  <a:pt x="1056431" y="106580"/>
                </a:cubicBezTo>
                <a:cubicBezTo>
                  <a:pt x="1056431" y="106580"/>
                  <a:pt x="1080229" y="107739"/>
                  <a:pt x="1095902" y="87755"/>
                </a:cubicBezTo>
                <a:cubicBezTo>
                  <a:pt x="1111574" y="68061"/>
                  <a:pt x="1130439" y="9847"/>
                  <a:pt x="1130439" y="9847"/>
                </a:cubicBezTo>
                <a:cubicBezTo>
                  <a:pt x="1130439" y="9847"/>
                  <a:pt x="1133051" y="579"/>
                  <a:pt x="1147562" y="579"/>
                </a:cubicBezTo>
                <a:cubicBezTo>
                  <a:pt x="1162364" y="579"/>
                  <a:pt x="1255237" y="579"/>
                  <a:pt x="1262202" y="579"/>
                </a:cubicBezTo>
                <a:cubicBezTo>
                  <a:pt x="1265395" y="579"/>
                  <a:pt x="1344337" y="15060"/>
                  <a:pt x="1389032" y="62558"/>
                </a:cubicBezTo>
                <a:cubicBezTo>
                  <a:pt x="1411089" y="86017"/>
                  <a:pt x="1431115" y="114400"/>
                  <a:pt x="1440112" y="140466"/>
                </a:cubicBezTo>
                <a:cubicBezTo>
                  <a:pt x="1451431" y="172324"/>
                  <a:pt x="1452882" y="200128"/>
                  <a:pt x="1452882" y="200128"/>
                </a:cubicBezTo>
                <a:cubicBezTo>
                  <a:pt x="1452882" y="2893886"/>
                  <a:pt x="1452882" y="2893886"/>
                  <a:pt x="1452882" y="2893886"/>
                </a:cubicBezTo>
                <a:cubicBezTo>
                  <a:pt x="1452882" y="2893886"/>
                  <a:pt x="1443305" y="2974690"/>
                  <a:pt x="1400061" y="3015816"/>
                </a:cubicBezTo>
                <a:cubicBezTo>
                  <a:pt x="1373360" y="3041302"/>
                  <a:pt x="1353334" y="3058100"/>
                  <a:pt x="1327794" y="3069396"/>
                </a:cubicBezTo>
                <a:cubicBezTo>
                  <a:pt x="1287742" y="3087352"/>
                  <a:pt x="1250013" y="3088800"/>
                  <a:pt x="1250013" y="3088800"/>
                </a:cubicBezTo>
                <a:cubicBezTo>
                  <a:pt x="195904" y="3088800"/>
                  <a:pt x="195904" y="3088800"/>
                  <a:pt x="195904" y="3088800"/>
                </a:cubicBezTo>
                <a:cubicBezTo>
                  <a:pt x="195904" y="3088800"/>
                  <a:pt x="157013" y="3084456"/>
                  <a:pt x="120445" y="3067368"/>
                </a:cubicBezTo>
                <a:cubicBezTo>
                  <a:pt x="85908" y="3051439"/>
                  <a:pt x="72267" y="3034641"/>
                  <a:pt x="48178" y="3008865"/>
                </a:cubicBezTo>
                <a:cubicBezTo>
                  <a:pt x="581" y="2957602"/>
                  <a:pt x="0" y="2877957"/>
                  <a:pt x="0" y="2877957"/>
                </a:cubicBezTo>
                <a:lnTo>
                  <a:pt x="871" y="204472"/>
                </a:lnTo>
                <a:cubicBezTo>
                  <a:pt x="871" y="204472"/>
                  <a:pt x="1161" y="167111"/>
                  <a:pt x="17704" y="126854"/>
                </a:cubicBezTo>
                <a:cubicBezTo>
                  <a:pt x="27572" y="102815"/>
                  <a:pt x="49049" y="78198"/>
                  <a:pt x="68784" y="58503"/>
                </a:cubicBezTo>
                <a:cubicBezTo>
                  <a:pt x="117252" y="9268"/>
                  <a:pt x="202870" y="0"/>
                  <a:pt x="202870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22F74907-9901-41D8-B02E-D5156ACAC59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CD76F14-B7C1-4783-A9BB-4763BFA8875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pic>
        <p:nvPicPr>
          <p:cNvPr id="27" name="Picture 26" descr="A picture containing monitor&#10;&#10;Description automatically generated">
            <a:extLst>
              <a:ext uri="{FF2B5EF4-FFF2-40B4-BE49-F238E27FC236}">
                <a16:creationId xmlns:a16="http://schemas.microsoft.com/office/drawing/2014/main" id="{154FF016-7F02-472C-B9A6-FD4F50DF36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3824" y="1095375"/>
            <a:ext cx="2962122" cy="4536000"/>
          </a:xfrm>
          <a:prstGeom prst="rect">
            <a:avLst/>
          </a:prstGeom>
        </p:spPr>
      </p:pic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2EEBB07D-0B9A-4E6E-8341-D43B950E589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317019" y="1810291"/>
            <a:ext cx="1452882" cy="3088800"/>
          </a:xfrm>
          <a:custGeom>
            <a:avLst/>
            <a:gdLst>
              <a:gd name="connsiteX0" fmla="*/ 202870 w 1452882"/>
              <a:gd name="connsiteY0" fmla="*/ 0 h 3088800"/>
              <a:gd name="connsiteX1" fmla="*/ 307352 w 1452882"/>
              <a:gd name="connsiteY1" fmla="*/ 0 h 3088800"/>
              <a:gd name="connsiteX2" fmla="*/ 321573 w 1452882"/>
              <a:gd name="connsiteY2" fmla="*/ 16508 h 3088800"/>
              <a:gd name="connsiteX3" fmla="*/ 363366 w 1452882"/>
              <a:gd name="connsiteY3" fmla="*/ 98181 h 3088800"/>
              <a:gd name="connsiteX4" fmla="*/ 416768 w 1452882"/>
              <a:gd name="connsiteY4" fmla="*/ 106580 h 3088800"/>
              <a:gd name="connsiteX5" fmla="*/ 1056431 w 1452882"/>
              <a:gd name="connsiteY5" fmla="*/ 106580 h 3088800"/>
              <a:gd name="connsiteX6" fmla="*/ 1095902 w 1452882"/>
              <a:gd name="connsiteY6" fmla="*/ 87755 h 3088800"/>
              <a:gd name="connsiteX7" fmla="*/ 1130439 w 1452882"/>
              <a:gd name="connsiteY7" fmla="*/ 9847 h 3088800"/>
              <a:gd name="connsiteX8" fmla="*/ 1147562 w 1452882"/>
              <a:gd name="connsiteY8" fmla="*/ 579 h 3088800"/>
              <a:gd name="connsiteX9" fmla="*/ 1262202 w 1452882"/>
              <a:gd name="connsiteY9" fmla="*/ 579 h 3088800"/>
              <a:gd name="connsiteX10" fmla="*/ 1389032 w 1452882"/>
              <a:gd name="connsiteY10" fmla="*/ 62558 h 3088800"/>
              <a:gd name="connsiteX11" fmla="*/ 1440112 w 1452882"/>
              <a:gd name="connsiteY11" fmla="*/ 140466 h 3088800"/>
              <a:gd name="connsiteX12" fmla="*/ 1452882 w 1452882"/>
              <a:gd name="connsiteY12" fmla="*/ 200128 h 3088800"/>
              <a:gd name="connsiteX13" fmla="*/ 1452882 w 1452882"/>
              <a:gd name="connsiteY13" fmla="*/ 2893886 h 3088800"/>
              <a:gd name="connsiteX14" fmla="*/ 1400061 w 1452882"/>
              <a:gd name="connsiteY14" fmla="*/ 3015816 h 3088800"/>
              <a:gd name="connsiteX15" fmla="*/ 1327794 w 1452882"/>
              <a:gd name="connsiteY15" fmla="*/ 3069396 h 3088800"/>
              <a:gd name="connsiteX16" fmla="*/ 1250013 w 1452882"/>
              <a:gd name="connsiteY16" fmla="*/ 3088800 h 3088800"/>
              <a:gd name="connsiteX17" fmla="*/ 195904 w 1452882"/>
              <a:gd name="connsiteY17" fmla="*/ 3088800 h 3088800"/>
              <a:gd name="connsiteX18" fmla="*/ 120445 w 1452882"/>
              <a:gd name="connsiteY18" fmla="*/ 3067368 h 3088800"/>
              <a:gd name="connsiteX19" fmla="*/ 48178 w 1452882"/>
              <a:gd name="connsiteY19" fmla="*/ 3008865 h 3088800"/>
              <a:gd name="connsiteX20" fmla="*/ 0 w 1452882"/>
              <a:gd name="connsiteY20" fmla="*/ 2877957 h 3088800"/>
              <a:gd name="connsiteX21" fmla="*/ 871 w 1452882"/>
              <a:gd name="connsiteY21" fmla="*/ 204472 h 3088800"/>
              <a:gd name="connsiteX22" fmla="*/ 17704 w 1452882"/>
              <a:gd name="connsiteY22" fmla="*/ 126854 h 3088800"/>
              <a:gd name="connsiteX23" fmla="*/ 68784 w 1452882"/>
              <a:gd name="connsiteY23" fmla="*/ 58503 h 3088800"/>
              <a:gd name="connsiteX24" fmla="*/ 202870 w 1452882"/>
              <a:gd name="connsiteY24" fmla="*/ 0 h 30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52882" h="3088800">
                <a:moveTo>
                  <a:pt x="202870" y="0"/>
                </a:moveTo>
                <a:cubicBezTo>
                  <a:pt x="307352" y="0"/>
                  <a:pt x="307352" y="0"/>
                  <a:pt x="307352" y="0"/>
                </a:cubicBezTo>
                <a:cubicBezTo>
                  <a:pt x="307352" y="0"/>
                  <a:pt x="317220" y="2896"/>
                  <a:pt x="321573" y="16508"/>
                </a:cubicBezTo>
                <a:cubicBezTo>
                  <a:pt x="325926" y="30121"/>
                  <a:pt x="339567" y="82542"/>
                  <a:pt x="363366" y="98181"/>
                </a:cubicBezTo>
                <a:cubicBezTo>
                  <a:pt x="382231" y="110345"/>
                  <a:pt x="416768" y="106580"/>
                  <a:pt x="416768" y="106580"/>
                </a:cubicBezTo>
                <a:cubicBezTo>
                  <a:pt x="1056431" y="106580"/>
                  <a:pt x="1056431" y="106580"/>
                  <a:pt x="1056431" y="106580"/>
                </a:cubicBezTo>
                <a:cubicBezTo>
                  <a:pt x="1056431" y="106580"/>
                  <a:pt x="1080229" y="107739"/>
                  <a:pt x="1095902" y="87755"/>
                </a:cubicBezTo>
                <a:cubicBezTo>
                  <a:pt x="1111574" y="68061"/>
                  <a:pt x="1130439" y="9847"/>
                  <a:pt x="1130439" y="9847"/>
                </a:cubicBezTo>
                <a:cubicBezTo>
                  <a:pt x="1130439" y="9847"/>
                  <a:pt x="1133051" y="579"/>
                  <a:pt x="1147562" y="579"/>
                </a:cubicBezTo>
                <a:cubicBezTo>
                  <a:pt x="1162364" y="579"/>
                  <a:pt x="1255237" y="579"/>
                  <a:pt x="1262202" y="579"/>
                </a:cubicBezTo>
                <a:cubicBezTo>
                  <a:pt x="1265395" y="579"/>
                  <a:pt x="1344337" y="15060"/>
                  <a:pt x="1389032" y="62558"/>
                </a:cubicBezTo>
                <a:cubicBezTo>
                  <a:pt x="1411089" y="86017"/>
                  <a:pt x="1431115" y="114400"/>
                  <a:pt x="1440112" y="140466"/>
                </a:cubicBezTo>
                <a:cubicBezTo>
                  <a:pt x="1451431" y="172324"/>
                  <a:pt x="1452882" y="200128"/>
                  <a:pt x="1452882" y="200128"/>
                </a:cubicBezTo>
                <a:cubicBezTo>
                  <a:pt x="1452882" y="2893886"/>
                  <a:pt x="1452882" y="2893886"/>
                  <a:pt x="1452882" y="2893886"/>
                </a:cubicBezTo>
                <a:cubicBezTo>
                  <a:pt x="1452882" y="2893886"/>
                  <a:pt x="1443305" y="2974690"/>
                  <a:pt x="1400061" y="3015816"/>
                </a:cubicBezTo>
                <a:cubicBezTo>
                  <a:pt x="1373360" y="3041302"/>
                  <a:pt x="1353334" y="3058100"/>
                  <a:pt x="1327794" y="3069396"/>
                </a:cubicBezTo>
                <a:cubicBezTo>
                  <a:pt x="1287742" y="3087352"/>
                  <a:pt x="1250013" y="3088800"/>
                  <a:pt x="1250013" y="3088800"/>
                </a:cubicBezTo>
                <a:cubicBezTo>
                  <a:pt x="195904" y="3088800"/>
                  <a:pt x="195904" y="3088800"/>
                  <a:pt x="195904" y="3088800"/>
                </a:cubicBezTo>
                <a:cubicBezTo>
                  <a:pt x="195904" y="3088800"/>
                  <a:pt x="157013" y="3084456"/>
                  <a:pt x="120445" y="3067368"/>
                </a:cubicBezTo>
                <a:cubicBezTo>
                  <a:pt x="85908" y="3051439"/>
                  <a:pt x="72267" y="3034641"/>
                  <a:pt x="48178" y="3008865"/>
                </a:cubicBezTo>
                <a:cubicBezTo>
                  <a:pt x="581" y="2957602"/>
                  <a:pt x="0" y="2877957"/>
                  <a:pt x="0" y="2877957"/>
                </a:cubicBezTo>
                <a:lnTo>
                  <a:pt x="871" y="204472"/>
                </a:lnTo>
                <a:cubicBezTo>
                  <a:pt x="871" y="204472"/>
                  <a:pt x="1161" y="167111"/>
                  <a:pt x="17704" y="126854"/>
                </a:cubicBezTo>
                <a:cubicBezTo>
                  <a:pt x="27572" y="102815"/>
                  <a:pt x="49049" y="78198"/>
                  <a:pt x="68784" y="58503"/>
                </a:cubicBezTo>
                <a:cubicBezTo>
                  <a:pt x="117252" y="9268"/>
                  <a:pt x="202870" y="0"/>
                  <a:pt x="202870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pic>
        <p:nvPicPr>
          <p:cNvPr id="29" name="Picture 28" descr="A picture containing monitor&#10;&#10;Description automatically generated">
            <a:extLst>
              <a:ext uri="{FF2B5EF4-FFF2-40B4-BE49-F238E27FC236}">
                <a16:creationId xmlns:a16="http://schemas.microsoft.com/office/drawing/2014/main" id="{A70AE4C1-4526-4D22-9301-A6F93E38D7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164" y="1095375"/>
            <a:ext cx="2962122" cy="4536000"/>
          </a:xfrm>
          <a:prstGeom prst="rect">
            <a:avLst/>
          </a:prstGeom>
        </p:spPr>
      </p:pic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2681D62F-4793-4C2E-8783-7DAF67F9AF3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80359" y="1810291"/>
            <a:ext cx="1452882" cy="3088800"/>
          </a:xfrm>
          <a:custGeom>
            <a:avLst/>
            <a:gdLst>
              <a:gd name="connsiteX0" fmla="*/ 202870 w 1452882"/>
              <a:gd name="connsiteY0" fmla="*/ 0 h 3088800"/>
              <a:gd name="connsiteX1" fmla="*/ 307352 w 1452882"/>
              <a:gd name="connsiteY1" fmla="*/ 0 h 3088800"/>
              <a:gd name="connsiteX2" fmla="*/ 321573 w 1452882"/>
              <a:gd name="connsiteY2" fmla="*/ 16508 h 3088800"/>
              <a:gd name="connsiteX3" fmla="*/ 363366 w 1452882"/>
              <a:gd name="connsiteY3" fmla="*/ 98181 h 3088800"/>
              <a:gd name="connsiteX4" fmla="*/ 416768 w 1452882"/>
              <a:gd name="connsiteY4" fmla="*/ 106580 h 3088800"/>
              <a:gd name="connsiteX5" fmla="*/ 1056431 w 1452882"/>
              <a:gd name="connsiteY5" fmla="*/ 106580 h 3088800"/>
              <a:gd name="connsiteX6" fmla="*/ 1095902 w 1452882"/>
              <a:gd name="connsiteY6" fmla="*/ 87755 h 3088800"/>
              <a:gd name="connsiteX7" fmla="*/ 1130439 w 1452882"/>
              <a:gd name="connsiteY7" fmla="*/ 9847 h 3088800"/>
              <a:gd name="connsiteX8" fmla="*/ 1147562 w 1452882"/>
              <a:gd name="connsiteY8" fmla="*/ 579 h 3088800"/>
              <a:gd name="connsiteX9" fmla="*/ 1262202 w 1452882"/>
              <a:gd name="connsiteY9" fmla="*/ 579 h 3088800"/>
              <a:gd name="connsiteX10" fmla="*/ 1389032 w 1452882"/>
              <a:gd name="connsiteY10" fmla="*/ 62558 h 3088800"/>
              <a:gd name="connsiteX11" fmla="*/ 1440112 w 1452882"/>
              <a:gd name="connsiteY11" fmla="*/ 140466 h 3088800"/>
              <a:gd name="connsiteX12" fmla="*/ 1452882 w 1452882"/>
              <a:gd name="connsiteY12" fmla="*/ 200128 h 3088800"/>
              <a:gd name="connsiteX13" fmla="*/ 1452882 w 1452882"/>
              <a:gd name="connsiteY13" fmla="*/ 2893886 h 3088800"/>
              <a:gd name="connsiteX14" fmla="*/ 1400061 w 1452882"/>
              <a:gd name="connsiteY14" fmla="*/ 3015816 h 3088800"/>
              <a:gd name="connsiteX15" fmla="*/ 1327794 w 1452882"/>
              <a:gd name="connsiteY15" fmla="*/ 3069396 h 3088800"/>
              <a:gd name="connsiteX16" fmla="*/ 1250013 w 1452882"/>
              <a:gd name="connsiteY16" fmla="*/ 3088800 h 3088800"/>
              <a:gd name="connsiteX17" fmla="*/ 195904 w 1452882"/>
              <a:gd name="connsiteY17" fmla="*/ 3088800 h 3088800"/>
              <a:gd name="connsiteX18" fmla="*/ 120445 w 1452882"/>
              <a:gd name="connsiteY18" fmla="*/ 3067368 h 3088800"/>
              <a:gd name="connsiteX19" fmla="*/ 48178 w 1452882"/>
              <a:gd name="connsiteY19" fmla="*/ 3008865 h 3088800"/>
              <a:gd name="connsiteX20" fmla="*/ 0 w 1452882"/>
              <a:gd name="connsiteY20" fmla="*/ 2877957 h 3088800"/>
              <a:gd name="connsiteX21" fmla="*/ 871 w 1452882"/>
              <a:gd name="connsiteY21" fmla="*/ 204472 h 3088800"/>
              <a:gd name="connsiteX22" fmla="*/ 17704 w 1452882"/>
              <a:gd name="connsiteY22" fmla="*/ 126854 h 3088800"/>
              <a:gd name="connsiteX23" fmla="*/ 68784 w 1452882"/>
              <a:gd name="connsiteY23" fmla="*/ 58503 h 3088800"/>
              <a:gd name="connsiteX24" fmla="*/ 202870 w 1452882"/>
              <a:gd name="connsiteY24" fmla="*/ 0 h 30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52882" h="3088800">
                <a:moveTo>
                  <a:pt x="202870" y="0"/>
                </a:moveTo>
                <a:cubicBezTo>
                  <a:pt x="307352" y="0"/>
                  <a:pt x="307352" y="0"/>
                  <a:pt x="307352" y="0"/>
                </a:cubicBezTo>
                <a:cubicBezTo>
                  <a:pt x="307352" y="0"/>
                  <a:pt x="317220" y="2896"/>
                  <a:pt x="321573" y="16508"/>
                </a:cubicBezTo>
                <a:cubicBezTo>
                  <a:pt x="325926" y="30121"/>
                  <a:pt x="339567" y="82542"/>
                  <a:pt x="363366" y="98181"/>
                </a:cubicBezTo>
                <a:cubicBezTo>
                  <a:pt x="382231" y="110345"/>
                  <a:pt x="416768" y="106580"/>
                  <a:pt x="416768" y="106580"/>
                </a:cubicBezTo>
                <a:cubicBezTo>
                  <a:pt x="1056431" y="106580"/>
                  <a:pt x="1056431" y="106580"/>
                  <a:pt x="1056431" y="106580"/>
                </a:cubicBezTo>
                <a:cubicBezTo>
                  <a:pt x="1056431" y="106580"/>
                  <a:pt x="1080229" y="107739"/>
                  <a:pt x="1095902" y="87755"/>
                </a:cubicBezTo>
                <a:cubicBezTo>
                  <a:pt x="1111574" y="68061"/>
                  <a:pt x="1130439" y="9847"/>
                  <a:pt x="1130439" y="9847"/>
                </a:cubicBezTo>
                <a:cubicBezTo>
                  <a:pt x="1130439" y="9847"/>
                  <a:pt x="1133051" y="579"/>
                  <a:pt x="1147562" y="579"/>
                </a:cubicBezTo>
                <a:cubicBezTo>
                  <a:pt x="1162364" y="579"/>
                  <a:pt x="1255237" y="579"/>
                  <a:pt x="1262202" y="579"/>
                </a:cubicBezTo>
                <a:cubicBezTo>
                  <a:pt x="1265395" y="579"/>
                  <a:pt x="1344337" y="15060"/>
                  <a:pt x="1389032" y="62558"/>
                </a:cubicBezTo>
                <a:cubicBezTo>
                  <a:pt x="1411089" y="86017"/>
                  <a:pt x="1431115" y="114400"/>
                  <a:pt x="1440112" y="140466"/>
                </a:cubicBezTo>
                <a:cubicBezTo>
                  <a:pt x="1451431" y="172324"/>
                  <a:pt x="1452882" y="200128"/>
                  <a:pt x="1452882" y="200128"/>
                </a:cubicBezTo>
                <a:cubicBezTo>
                  <a:pt x="1452882" y="2893886"/>
                  <a:pt x="1452882" y="2893886"/>
                  <a:pt x="1452882" y="2893886"/>
                </a:cubicBezTo>
                <a:cubicBezTo>
                  <a:pt x="1452882" y="2893886"/>
                  <a:pt x="1443305" y="2974690"/>
                  <a:pt x="1400061" y="3015816"/>
                </a:cubicBezTo>
                <a:cubicBezTo>
                  <a:pt x="1373360" y="3041302"/>
                  <a:pt x="1353334" y="3058100"/>
                  <a:pt x="1327794" y="3069396"/>
                </a:cubicBezTo>
                <a:cubicBezTo>
                  <a:pt x="1287742" y="3087352"/>
                  <a:pt x="1250013" y="3088800"/>
                  <a:pt x="1250013" y="3088800"/>
                </a:cubicBezTo>
                <a:cubicBezTo>
                  <a:pt x="195904" y="3088800"/>
                  <a:pt x="195904" y="3088800"/>
                  <a:pt x="195904" y="3088800"/>
                </a:cubicBezTo>
                <a:cubicBezTo>
                  <a:pt x="195904" y="3088800"/>
                  <a:pt x="157013" y="3084456"/>
                  <a:pt x="120445" y="3067368"/>
                </a:cubicBezTo>
                <a:cubicBezTo>
                  <a:pt x="85908" y="3051439"/>
                  <a:pt x="72267" y="3034641"/>
                  <a:pt x="48178" y="3008865"/>
                </a:cubicBezTo>
                <a:cubicBezTo>
                  <a:pt x="581" y="2957602"/>
                  <a:pt x="0" y="2877957"/>
                  <a:pt x="0" y="2877957"/>
                </a:cubicBezTo>
                <a:lnTo>
                  <a:pt x="871" y="204472"/>
                </a:lnTo>
                <a:cubicBezTo>
                  <a:pt x="871" y="204472"/>
                  <a:pt x="1161" y="167111"/>
                  <a:pt x="17704" y="126854"/>
                </a:cubicBezTo>
                <a:cubicBezTo>
                  <a:pt x="27572" y="102815"/>
                  <a:pt x="49049" y="78198"/>
                  <a:pt x="68784" y="58503"/>
                </a:cubicBezTo>
                <a:cubicBezTo>
                  <a:pt x="117252" y="9268"/>
                  <a:pt x="202870" y="0"/>
                  <a:pt x="202870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329505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9747BD37-3BEA-40D2-8343-2CB995B91822}"/>
              </a:ext>
            </a:extLst>
          </p:cNvPr>
          <p:cNvSpPr/>
          <p:nvPr/>
        </p:nvSpPr>
        <p:spPr>
          <a:xfrm>
            <a:off x="0" y="0"/>
            <a:ext cx="2286000" cy="17811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4C88EA-B1EA-4FA0-8279-C122B539260B}"/>
              </a:ext>
            </a:extLst>
          </p:cNvPr>
          <p:cNvSpPr/>
          <p:nvPr/>
        </p:nvSpPr>
        <p:spPr>
          <a:xfrm>
            <a:off x="0" y="1781175"/>
            <a:ext cx="2286000" cy="50768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781574" y="446744"/>
            <a:ext cx="6298925" cy="2147594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/>
            </a:br>
            <a:r>
              <a:t>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2789057" y="2762591"/>
            <a:ext cx="6291442" cy="67405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D17E435-7649-47BA-B3A0-AA4F57BBB1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2879" y="273607"/>
            <a:ext cx="1944810" cy="1428584"/>
          </a:xfrm>
        </p:spPr>
        <p:txBody>
          <a:bodyPr/>
          <a:lstStyle>
            <a:lvl1pPr algn="ctr">
              <a:spcBef>
                <a:spcPts val="0"/>
              </a:spcBef>
              <a:defRPr sz="8000" b="0">
                <a:solidFill>
                  <a:schemeClr val="bg1"/>
                </a:solidFill>
              </a:defRPr>
            </a:lvl1pPr>
          </a:lstStyle>
          <a:p>
            <a:pPr lvl="0"/>
            <a:r>
              <a:t>00</a:t>
            </a:r>
          </a:p>
        </p:txBody>
      </p:sp>
      <p:grpSp>
        <p:nvGrpSpPr>
          <p:cNvPr id="11" name="asurion logo">
            <a:extLst>
              <a:ext uri="{FF2B5EF4-FFF2-40B4-BE49-F238E27FC236}">
                <a16:creationId xmlns:a16="http://schemas.microsoft.com/office/drawing/2014/main" id="{FEC17685-B133-C345-A89F-A29C5966C31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1" y="6390186"/>
            <a:ext cx="918000" cy="213052"/>
            <a:chOff x="316" y="3952"/>
            <a:chExt cx="586" cy="136"/>
          </a:xfrm>
          <a:solidFill>
            <a:schemeClr val="bg1"/>
          </a:solidFill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1DA59301-3241-F348-BEBD-A6FFEADD16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239CCB2F-6595-5940-8A39-B3E30B1ABE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86BD6342-63E8-6241-9895-40B3FD18FD0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FF5FEC08-0FA6-3D4F-A889-0BBFE49D90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F318E898-1C1D-3046-88C4-16F050D7F0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9315519C-656E-724D-86B0-E6FFBFDFDB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81591244-1087-6E48-A901-C4FA89D203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312559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 with iPh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00064" y="5288239"/>
            <a:ext cx="3600000" cy="783091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3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314826" y="5288239"/>
            <a:ext cx="3600000" cy="783091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1ECDB9F2-27F4-42DB-89BF-A79294975B4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29588" y="5288239"/>
            <a:ext cx="3600000" cy="783091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5179A366-3852-4680-B35F-C5CAF0ED315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65109" y="1810291"/>
            <a:ext cx="1452882" cy="3088800"/>
          </a:xfrm>
          <a:custGeom>
            <a:avLst/>
            <a:gdLst>
              <a:gd name="connsiteX0" fmla="*/ 202870 w 1452882"/>
              <a:gd name="connsiteY0" fmla="*/ 0 h 3088800"/>
              <a:gd name="connsiteX1" fmla="*/ 307352 w 1452882"/>
              <a:gd name="connsiteY1" fmla="*/ 0 h 3088800"/>
              <a:gd name="connsiteX2" fmla="*/ 321573 w 1452882"/>
              <a:gd name="connsiteY2" fmla="*/ 16508 h 3088800"/>
              <a:gd name="connsiteX3" fmla="*/ 363366 w 1452882"/>
              <a:gd name="connsiteY3" fmla="*/ 98181 h 3088800"/>
              <a:gd name="connsiteX4" fmla="*/ 416768 w 1452882"/>
              <a:gd name="connsiteY4" fmla="*/ 106580 h 3088800"/>
              <a:gd name="connsiteX5" fmla="*/ 1056431 w 1452882"/>
              <a:gd name="connsiteY5" fmla="*/ 106580 h 3088800"/>
              <a:gd name="connsiteX6" fmla="*/ 1095902 w 1452882"/>
              <a:gd name="connsiteY6" fmla="*/ 87755 h 3088800"/>
              <a:gd name="connsiteX7" fmla="*/ 1130439 w 1452882"/>
              <a:gd name="connsiteY7" fmla="*/ 9847 h 3088800"/>
              <a:gd name="connsiteX8" fmla="*/ 1147562 w 1452882"/>
              <a:gd name="connsiteY8" fmla="*/ 579 h 3088800"/>
              <a:gd name="connsiteX9" fmla="*/ 1262202 w 1452882"/>
              <a:gd name="connsiteY9" fmla="*/ 579 h 3088800"/>
              <a:gd name="connsiteX10" fmla="*/ 1389032 w 1452882"/>
              <a:gd name="connsiteY10" fmla="*/ 62558 h 3088800"/>
              <a:gd name="connsiteX11" fmla="*/ 1440112 w 1452882"/>
              <a:gd name="connsiteY11" fmla="*/ 140466 h 3088800"/>
              <a:gd name="connsiteX12" fmla="*/ 1452882 w 1452882"/>
              <a:gd name="connsiteY12" fmla="*/ 200128 h 3088800"/>
              <a:gd name="connsiteX13" fmla="*/ 1452882 w 1452882"/>
              <a:gd name="connsiteY13" fmla="*/ 2893886 h 3088800"/>
              <a:gd name="connsiteX14" fmla="*/ 1400061 w 1452882"/>
              <a:gd name="connsiteY14" fmla="*/ 3015816 h 3088800"/>
              <a:gd name="connsiteX15" fmla="*/ 1327794 w 1452882"/>
              <a:gd name="connsiteY15" fmla="*/ 3069396 h 3088800"/>
              <a:gd name="connsiteX16" fmla="*/ 1250013 w 1452882"/>
              <a:gd name="connsiteY16" fmla="*/ 3088800 h 3088800"/>
              <a:gd name="connsiteX17" fmla="*/ 195904 w 1452882"/>
              <a:gd name="connsiteY17" fmla="*/ 3088800 h 3088800"/>
              <a:gd name="connsiteX18" fmla="*/ 120445 w 1452882"/>
              <a:gd name="connsiteY18" fmla="*/ 3067368 h 3088800"/>
              <a:gd name="connsiteX19" fmla="*/ 48178 w 1452882"/>
              <a:gd name="connsiteY19" fmla="*/ 3008865 h 3088800"/>
              <a:gd name="connsiteX20" fmla="*/ 0 w 1452882"/>
              <a:gd name="connsiteY20" fmla="*/ 2877957 h 3088800"/>
              <a:gd name="connsiteX21" fmla="*/ 871 w 1452882"/>
              <a:gd name="connsiteY21" fmla="*/ 204472 h 3088800"/>
              <a:gd name="connsiteX22" fmla="*/ 17704 w 1452882"/>
              <a:gd name="connsiteY22" fmla="*/ 126854 h 3088800"/>
              <a:gd name="connsiteX23" fmla="*/ 68784 w 1452882"/>
              <a:gd name="connsiteY23" fmla="*/ 58503 h 3088800"/>
              <a:gd name="connsiteX24" fmla="*/ 202870 w 1452882"/>
              <a:gd name="connsiteY24" fmla="*/ 0 h 30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52882" h="3088800">
                <a:moveTo>
                  <a:pt x="202870" y="0"/>
                </a:moveTo>
                <a:cubicBezTo>
                  <a:pt x="307352" y="0"/>
                  <a:pt x="307352" y="0"/>
                  <a:pt x="307352" y="0"/>
                </a:cubicBezTo>
                <a:cubicBezTo>
                  <a:pt x="307352" y="0"/>
                  <a:pt x="317220" y="2896"/>
                  <a:pt x="321573" y="16508"/>
                </a:cubicBezTo>
                <a:cubicBezTo>
                  <a:pt x="325926" y="30121"/>
                  <a:pt x="339567" y="82542"/>
                  <a:pt x="363366" y="98181"/>
                </a:cubicBezTo>
                <a:cubicBezTo>
                  <a:pt x="382231" y="110345"/>
                  <a:pt x="416768" y="106580"/>
                  <a:pt x="416768" y="106580"/>
                </a:cubicBezTo>
                <a:cubicBezTo>
                  <a:pt x="1056431" y="106580"/>
                  <a:pt x="1056431" y="106580"/>
                  <a:pt x="1056431" y="106580"/>
                </a:cubicBezTo>
                <a:cubicBezTo>
                  <a:pt x="1056431" y="106580"/>
                  <a:pt x="1080229" y="107739"/>
                  <a:pt x="1095902" y="87755"/>
                </a:cubicBezTo>
                <a:cubicBezTo>
                  <a:pt x="1111574" y="68061"/>
                  <a:pt x="1130439" y="9847"/>
                  <a:pt x="1130439" y="9847"/>
                </a:cubicBezTo>
                <a:cubicBezTo>
                  <a:pt x="1130439" y="9847"/>
                  <a:pt x="1133051" y="579"/>
                  <a:pt x="1147562" y="579"/>
                </a:cubicBezTo>
                <a:cubicBezTo>
                  <a:pt x="1162364" y="579"/>
                  <a:pt x="1255237" y="579"/>
                  <a:pt x="1262202" y="579"/>
                </a:cubicBezTo>
                <a:cubicBezTo>
                  <a:pt x="1265395" y="579"/>
                  <a:pt x="1344337" y="15060"/>
                  <a:pt x="1389032" y="62558"/>
                </a:cubicBezTo>
                <a:cubicBezTo>
                  <a:pt x="1411089" y="86017"/>
                  <a:pt x="1431115" y="114400"/>
                  <a:pt x="1440112" y="140466"/>
                </a:cubicBezTo>
                <a:cubicBezTo>
                  <a:pt x="1451431" y="172324"/>
                  <a:pt x="1452882" y="200128"/>
                  <a:pt x="1452882" y="200128"/>
                </a:cubicBezTo>
                <a:cubicBezTo>
                  <a:pt x="1452882" y="2893886"/>
                  <a:pt x="1452882" y="2893886"/>
                  <a:pt x="1452882" y="2893886"/>
                </a:cubicBezTo>
                <a:cubicBezTo>
                  <a:pt x="1452882" y="2893886"/>
                  <a:pt x="1443305" y="2974690"/>
                  <a:pt x="1400061" y="3015816"/>
                </a:cubicBezTo>
                <a:cubicBezTo>
                  <a:pt x="1373360" y="3041302"/>
                  <a:pt x="1353334" y="3058100"/>
                  <a:pt x="1327794" y="3069396"/>
                </a:cubicBezTo>
                <a:cubicBezTo>
                  <a:pt x="1287742" y="3087352"/>
                  <a:pt x="1250013" y="3088800"/>
                  <a:pt x="1250013" y="3088800"/>
                </a:cubicBezTo>
                <a:cubicBezTo>
                  <a:pt x="195904" y="3088800"/>
                  <a:pt x="195904" y="3088800"/>
                  <a:pt x="195904" y="3088800"/>
                </a:cubicBezTo>
                <a:cubicBezTo>
                  <a:pt x="195904" y="3088800"/>
                  <a:pt x="157013" y="3084456"/>
                  <a:pt x="120445" y="3067368"/>
                </a:cubicBezTo>
                <a:cubicBezTo>
                  <a:pt x="85908" y="3051439"/>
                  <a:pt x="72267" y="3034641"/>
                  <a:pt x="48178" y="3008865"/>
                </a:cubicBezTo>
                <a:cubicBezTo>
                  <a:pt x="581" y="2957602"/>
                  <a:pt x="0" y="2877957"/>
                  <a:pt x="0" y="2877957"/>
                </a:cubicBezTo>
                <a:lnTo>
                  <a:pt x="871" y="204472"/>
                </a:lnTo>
                <a:cubicBezTo>
                  <a:pt x="871" y="204472"/>
                  <a:pt x="1161" y="167111"/>
                  <a:pt x="17704" y="126854"/>
                </a:cubicBezTo>
                <a:cubicBezTo>
                  <a:pt x="27572" y="102815"/>
                  <a:pt x="49049" y="78198"/>
                  <a:pt x="68784" y="58503"/>
                </a:cubicBezTo>
                <a:cubicBezTo>
                  <a:pt x="117252" y="9268"/>
                  <a:pt x="202870" y="0"/>
                  <a:pt x="202870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22F74907-9901-41D8-B02E-D5156ACAC59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CD76F14-B7C1-4783-A9BB-4763BFA8875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2EEBB07D-0B9A-4E6E-8341-D43B950E589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317019" y="1810291"/>
            <a:ext cx="1452882" cy="3088800"/>
          </a:xfrm>
          <a:custGeom>
            <a:avLst/>
            <a:gdLst>
              <a:gd name="connsiteX0" fmla="*/ 202870 w 1452882"/>
              <a:gd name="connsiteY0" fmla="*/ 0 h 3088800"/>
              <a:gd name="connsiteX1" fmla="*/ 307352 w 1452882"/>
              <a:gd name="connsiteY1" fmla="*/ 0 h 3088800"/>
              <a:gd name="connsiteX2" fmla="*/ 321573 w 1452882"/>
              <a:gd name="connsiteY2" fmla="*/ 16508 h 3088800"/>
              <a:gd name="connsiteX3" fmla="*/ 363366 w 1452882"/>
              <a:gd name="connsiteY3" fmla="*/ 98181 h 3088800"/>
              <a:gd name="connsiteX4" fmla="*/ 416768 w 1452882"/>
              <a:gd name="connsiteY4" fmla="*/ 106580 h 3088800"/>
              <a:gd name="connsiteX5" fmla="*/ 1056431 w 1452882"/>
              <a:gd name="connsiteY5" fmla="*/ 106580 h 3088800"/>
              <a:gd name="connsiteX6" fmla="*/ 1095902 w 1452882"/>
              <a:gd name="connsiteY6" fmla="*/ 87755 h 3088800"/>
              <a:gd name="connsiteX7" fmla="*/ 1130439 w 1452882"/>
              <a:gd name="connsiteY7" fmla="*/ 9847 h 3088800"/>
              <a:gd name="connsiteX8" fmla="*/ 1147562 w 1452882"/>
              <a:gd name="connsiteY8" fmla="*/ 579 h 3088800"/>
              <a:gd name="connsiteX9" fmla="*/ 1262202 w 1452882"/>
              <a:gd name="connsiteY9" fmla="*/ 579 h 3088800"/>
              <a:gd name="connsiteX10" fmla="*/ 1389032 w 1452882"/>
              <a:gd name="connsiteY10" fmla="*/ 62558 h 3088800"/>
              <a:gd name="connsiteX11" fmla="*/ 1440112 w 1452882"/>
              <a:gd name="connsiteY11" fmla="*/ 140466 h 3088800"/>
              <a:gd name="connsiteX12" fmla="*/ 1452882 w 1452882"/>
              <a:gd name="connsiteY12" fmla="*/ 200128 h 3088800"/>
              <a:gd name="connsiteX13" fmla="*/ 1452882 w 1452882"/>
              <a:gd name="connsiteY13" fmla="*/ 2893886 h 3088800"/>
              <a:gd name="connsiteX14" fmla="*/ 1400061 w 1452882"/>
              <a:gd name="connsiteY14" fmla="*/ 3015816 h 3088800"/>
              <a:gd name="connsiteX15" fmla="*/ 1327794 w 1452882"/>
              <a:gd name="connsiteY15" fmla="*/ 3069396 h 3088800"/>
              <a:gd name="connsiteX16" fmla="*/ 1250013 w 1452882"/>
              <a:gd name="connsiteY16" fmla="*/ 3088800 h 3088800"/>
              <a:gd name="connsiteX17" fmla="*/ 195904 w 1452882"/>
              <a:gd name="connsiteY17" fmla="*/ 3088800 h 3088800"/>
              <a:gd name="connsiteX18" fmla="*/ 120445 w 1452882"/>
              <a:gd name="connsiteY18" fmla="*/ 3067368 h 3088800"/>
              <a:gd name="connsiteX19" fmla="*/ 48178 w 1452882"/>
              <a:gd name="connsiteY19" fmla="*/ 3008865 h 3088800"/>
              <a:gd name="connsiteX20" fmla="*/ 0 w 1452882"/>
              <a:gd name="connsiteY20" fmla="*/ 2877957 h 3088800"/>
              <a:gd name="connsiteX21" fmla="*/ 871 w 1452882"/>
              <a:gd name="connsiteY21" fmla="*/ 204472 h 3088800"/>
              <a:gd name="connsiteX22" fmla="*/ 17704 w 1452882"/>
              <a:gd name="connsiteY22" fmla="*/ 126854 h 3088800"/>
              <a:gd name="connsiteX23" fmla="*/ 68784 w 1452882"/>
              <a:gd name="connsiteY23" fmla="*/ 58503 h 3088800"/>
              <a:gd name="connsiteX24" fmla="*/ 202870 w 1452882"/>
              <a:gd name="connsiteY24" fmla="*/ 0 h 30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52882" h="3088800">
                <a:moveTo>
                  <a:pt x="202870" y="0"/>
                </a:moveTo>
                <a:cubicBezTo>
                  <a:pt x="307352" y="0"/>
                  <a:pt x="307352" y="0"/>
                  <a:pt x="307352" y="0"/>
                </a:cubicBezTo>
                <a:cubicBezTo>
                  <a:pt x="307352" y="0"/>
                  <a:pt x="317220" y="2896"/>
                  <a:pt x="321573" y="16508"/>
                </a:cubicBezTo>
                <a:cubicBezTo>
                  <a:pt x="325926" y="30121"/>
                  <a:pt x="339567" y="82542"/>
                  <a:pt x="363366" y="98181"/>
                </a:cubicBezTo>
                <a:cubicBezTo>
                  <a:pt x="382231" y="110345"/>
                  <a:pt x="416768" y="106580"/>
                  <a:pt x="416768" y="106580"/>
                </a:cubicBezTo>
                <a:cubicBezTo>
                  <a:pt x="1056431" y="106580"/>
                  <a:pt x="1056431" y="106580"/>
                  <a:pt x="1056431" y="106580"/>
                </a:cubicBezTo>
                <a:cubicBezTo>
                  <a:pt x="1056431" y="106580"/>
                  <a:pt x="1080229" y="107739"/>
                  <a:pt x="1095902" y="87755"/>
                </a:cubicBezTo>
                <a:cubicBezTo>
                  <a:pt x="1111574" y="68061"/>
                  <a:pt x="1130439" y="9847"/>
                  <a:pt x="1130439" y="9847"/>
                </a:cubicBezTo>
                <a:cubicBezTo>
                  <a:pt x="1130439" y="9847"/>
                  <a:pt x="1133051" y="579"/>
                  <a:pt x="1147562" y="579"/>
                </a:cubicBezTo>
                <a:cubicBezTo>
                  <a:pt x="1162364" y="579"/>
                  <a:pt x="1255237" y="579"/>
                  <a:pt x="1262202" y="579"/>
                </a:cubicBezTo>
                <a:cubicBezTo>
                  <a:pt x="1265395" y="579"/>
                  <a:pt x="1344337" y="15060"/>
                  <a:pt x="1389032" y="62558"/>
                </a:cubicBezTo>
                <a:cubicBezTo>
                  <a:pt x="1411089" y="86017"/>
                  <a:pt x="1431115" y="114400"/>
                  <a:pt x="1440112" y="140466"/>
                </a:cubicBezTo>
                <a:cubicBezTo>
                  <a:pt x="1451431" y="172324"/>
                  <a:pt x="1452882" y="200128"/>
                  <a:pt x="1452882" y="200128"/>
                </a:cubicBezTo>
                <a:cubicBezTo>
                  <a:pt x="1452882" y="2893886"/>
                  <a:pt x="1452882" y="2893886"/>
                  <a:pt x="1452882" y="2893886"/>
                </a:cubicBezTo>
                <a:cubicBezTo>
                  <a:pt x="1452882" y="2893886"/>
                  <a:pt x="1443305" y="2974690"/>
                  <a:pt x="1400061" y="3015816"/>
                </a:cubicBezTo>
                <a:cubicBezTo>
                  <a:pt x="1373360" y="3041302"/>
                  <a:pt x="1353334" y="3058100"/>
                  <a:pt x="1327794" y="3069396"/>
                </a:cubicBezTo>
                <a:cubicBezTo>
                  <a:pt x="1287742" y="3087352"/>
                  <a:pt x="1250013" y="3088800"/>
                  <a:pt x="1250013" y="3088800"/>
                </a:cubicBezTo>
                <a:cubicBezTo>
                  <a:pt x="195904" y="3088800"/>
                  <a:pt x="195904" y="3088800"/>
                  <a:pt x="195904" y="3088800"/>
                </a:cubicBezTo>
                <a:cubicBezTo>
                  <a:pt x="195904" y="3088800"/>
                  <a:pt x="157013" y="3084456"/>
                  <a:pt x="120445" y="3067368"/>
                </a:cubicBezTo>
                <a:cubicBezTo>
                  <a:pt x="85908" y="3051439"/>
                  <a:pt x="72267" y="3034641"/>
                  <a:pt x="48178" y="3008865"/>
                </a:cubicBezTo>
                <a:cubicBezTo>
                  <a:pt x="581" y="2957602"/>
                  <a:pt x="0" y="2877957"/>
                  <a:pt x="0" y="2877957"/>
                </a:cubicBezTo>
                <a:lnTo>
                  <a:pt x="871" y="204472"/>
                </a:lnTo>
                <a:cubicBezTo>
                  <a:pt x="871" y="204472"/>
                  <a:pt x="1161" y="167111"/>
                  <a:pt x="17704" y="126854"/>
                </a:cubicBezTo>
                <a:cubicBezTo>
                  <a:pt x="27572" y="102815"/>
                  <a:pt x="49049" y="78198"/>
                  <a:pt x="68784" y="58503"/>
                </a:cubicBezTo>
                <a:cubicBezTo>
                  <a:pt x="117252" y="9268"/>
                  <a:pt x="202870" y="0"/>
                  <a:pt x="202870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2681D62F-4793-4C2E-8783-7DAF67F9AF3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80359" y="1810291"/>
            <a:ext cx="1452882" cy="3088800"/>
          </a:xfrm>
          <a:custGeom>
            <a:avLst/>
            <a:gdLst>
              <a:gd name="connsiteX0" fmla="*/ 202870 w 1452882"/>
              <a:gd name="connsiteY0" fmla="*/ 0 h 3088800"/>
              <a:gd name="connsiteX1" fmla="*/ 307352 w 1452882"/>
              <a:gd name="connsiteY1" fmla="*/ 0 h 3088800"/>
              <a:gd name="connsiteX2" fmla="*/ 321573 w 1452882"/>
              <a:gd name="connsiteY2" fmla="*/ 16508 h 3088800"/>
              <a:gd name="connsiteX3" fmla="*/ 363366 w 1452882"/>
              <a:gd name="connsiteY3" fmla="*/ 98181 h 3088800"/>
              <a:gd name="connsiteX4" fmla="*/ 416768 w 1452882"/>
              <a:gd name="connsiteY4" fmla="*/ 106580 h 3088800"/>
              <a:gd name="connsiteX5" fmla="*/ 1056431 w 1452882"/>
              <a:gd name="connsiteY5" fmla="*/ 106580 h 3088800"/>
              <a:gd name="connsiteX6" fmla="*/ 1095902 w 1452882"/>
              <a:gd name="connsiteY6" fmla="*/ 87755 h 3088800"/>
              <a:gd name="connsiteX7" fmla="*/ 1130439 w 1452882"/>
              <a:gd name="connsiteY7" fmla="*/ 9847 h 3088800"/>
              <a:gd name="connsiteX8" fmla="*/ 1147562 w 1452882"/>
              <a:gd name="connsiteY8" fmla="*/ 579 h 3088800"/>
              <a:gd name="connsiteX9" fmla="*/ 1262202 w 1452882"/>
              <a:gd name="connsiteY9" fmla="*/ 579 h 3088800"/>
              <a:gd name="connsiteX10" fmla="*/ 1389032 w 1452882"/>
              <a:gd name="connsiteY10" fmla="*/ 62558 h 3088800"/>
              <a:gd name="connsiteX11" fmla="*/ 1440112 w 1452882"/>
              <a:gd name="connsiteY11" fmla="*/ 140466 h 3088800"/>
              <a:gd name="connsiteX12" fmla="*/ 1452882 w 1452882"/>
              <a:gd name="connsiteY12" fmla="*/ 200128 h 3088800"/>
              <a:gd name="connsiteX13" fmla="*/ 1452882 w 1452882"/>
              <a:gd name="connsiteY13" fmla="*/ 2893886 h 3088800"/>
              <a:gd name="connsiteX14" fmla="*/ 1400061 w 1452882"/>
              <a:gd name="connsiteY14" fmla="*/ 3015816 h 3088800"/>
              <a:gd name="connsiteX15" fmla="*/ 1327794 w 1452882"/>
              <a:gd name="connsiteY15" fmla="*/ 3069396 h 3088800"/>
              <a:gd name="connsiteX16" fmla="*/ 1250013 w 1452882"/>
              <a:gd name="connsiteY16" fmla="*/ 3088800 h 3088800"/>
              <a:gd name="connsiteX17" fmla="*/ 195904 w 1452882"/>
              <a:gd name="connsiteY17" fmla="*/ 3088800 h 3088800"/>
              <a:gd name="connsiteX18" fmla="*/ 120445 w 1452882"/>
              <a:gd name="connsiteY18" fmla="*/ 3067368 h 3088800"/>
              <a:gd name="connsiteX19" fmla="*/ 48178 w 1452882"/>
              <a:gd name="connsiteY19" fmla="*/ 3008865 h 3088800"/>
              <a:gd name="connsiteX20" fmla="*/ 0 w 1452882"/>
              <a:gd name="connsiteY20" fmla="*/ 2877957 h 3088800"/>
              <a:gd name="connsiteX21" fmla="*/ 871 w 1452882"/>
              <a:gd name="connsiteY21" fmla="*/ 204472 h 3088800"/>
              <a:gd name="connsiteX22" fmla="*/ 17704 w 1452882"/>
              <a:gd name="connsiteY22" fmla="*/ 126854 h 3088800"/>
              <a:gd name="connsiteX23" fmla="*/ 68784 w 1452882"/>
              <a:gd name="connsiteY23" fmla="*/ 58503 h 3088800"/>
              <a:gd name="connsiteX24" fmla="*/ 202870 w 1452882"/>
              <a:gd name="connsiteY24" fmla="*/ 0 h 30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52882" h="3088800">
                <a:moveTo>
                  <a:pt x="202870" y="0"/>
                </a:moveTo>
                <a:cubicBezTo>
                  <a:pt x="307352" y="0"/>
                  <a:pt x="307352" y="0"/>
                  <a:pt x="307352" y="0"/>
                </a:cubicBezTo>
                <a:cubicBezTo>
                  <a:pt x="307352" y="0"/>
                  <a:pt x="317220" y="2896"/>
                  <a:pt x="321573" y="16508"/>
                </a:cubicBezTo>
                <a:cubicBezTo>
                  <a:pt x="325926" y="30121"/>
                  <a:pt x="339567" y="82542"/>
                  <a:pt x="363366" y="98181"/>
                </a:cubicBezTo>
                <a:cubicBezTo>
                  <a:pt x="382231" y="110345"/>
                  <a:pt x="416768" y="106580"/>
                  <a:pt x="416768" y="106580"/>
                </a:cubicBezTo>
                <a:cubicBezTo>
                  <a:pt x="1056431" y="106580"/>
                  <a:pt x="1056431" y="106580"/>
                  <a:pt x="1056431" y="106580"/>
                </a:cubicBezTo>
                <a:cubicBezTo>
                  <a:pt x="1056431" y="106580"/>
                  <a:pt x="1080229" y="107739"/>
                  <a:pt x="1095902" y="87755"/>
                </a:cubicBezTo>
                <a:cubicBezTo>
                  <a:pt x="1111574" y="68061"/>
                  <a:pt x="1130439" y="9847"/>
                  <a:pt x="1130439" y="9847"/>
                </a:cubicBezTo>
                <a:cubicBezTo>
                  <a:pt x="1130439" y="9847"/>
                  <a:pt x="1133051" y="579"/>
                  <a:pt x="1147562" y="579"/>
                </a:cubicBezTo>
                <a:cubicBezTo>
                  <a:pt x="1162364" y="579"/>
                  <a:pt x="1255237" y="579"/>
                  <a:pt x="1262202" y="579"/>
                </a:cubicBezTo>
                <a:cubicBezTo>
                  <a:pt x="1265395" y="579"/>
                  <a:pt x="1344337" y="15060"/>
                  <a:pt x="1389032" y="62558"/>
                </a:cubicBezTo>
                <a:cubicBezTo>
                  <a:pt x="1411089" y="86017"/>
                  <a:pt x="1431115" y="114400"/>
                  <a:pt x="1440112" y="140466"/>
                </a:cubicBezTo>
                <a:cubicBezTo>
                  <a:pt x="1451431" y="172324"/>
                  <a:pt x="1452882" y="200128"/>
                  <a:pt x="1452882" y="200128"/>
                </a:cubicBezTo>
                <a:cubicBezTo>
                  <a:pt x="1452882" y="2893886"/>
                  <a:pt x="1452882" y="2893886"/>
                  <a:pt x="1452882" y="2893886"/>
                </a:cubicBezTo>
                <a:cubicBezTo>
                  <a:pt x="1452882" y="2893886"/>
                  <a:pt x="1443305" y="2974690"/>
                  <a:pt x="1400061" y="3015816"/>
                </a:cubicBezTo>
                <a:cubicBezTo>
                  <a:pt x="1373360" y="3041302"/>
                  <a:pt x="1353334" y="3058100"/>
                  <a:pt x="1327794" y="3069396"/>
                </a:cubicBezTo>
                <a:cubicBezTo>
                  <a:pt x="1287742" y="3087352"/>
                  <a:pt x="1250013" y="3088800"/>
                  <a:pt x="1250013" y="3088800"/>
                </a:cubicBezTo>
                <a:cubicBezTo>
                  <a:pt x="195904" y="3088800"/>
                  <a:pt x="195904" y="3088800"/>
                  <a:pt x="195904" y="3088800"/>
                </a:cubicBezTo>
                <a:cubicBezTo>
                  <a:pt x="195904" y="3088800"/>
                  <a:pt x="157013" y="3084456"/>
                  <a:pt x="120445" y="3067368"/>
                </a:cubicBezTo>
                <a:cubicBezTo>
                  <a:pt x="85908" y="3051439"/>
                  <a:pt x="72267" y="3034641"/>
                  <a:pt x="48178" y="3008865"/>
                </a:cubicBezTo>
                <a:cubicBezTo>
                  <a:pt x="581" y="2957602"/>
                  <a:pt x="0" y="2877957"/>
                  <a:pt x="0" y="2877957"/>
                </a:cubicBezTo>
                <a:lnTo>
                  <a:pt x="871" y="204472"/>
                </a:lnTo>
                <a:cubicBezTo>
                  <a:pt x="871" y="204472"/>
                  <a:pt x="1161" y="167111"/>
                  <a:pt x="17704" y="126854"/>
                </a:cubicBezTo>
                <a:cubicBezTo>
                  <a:pt x="27572" y="102815"/>
                  <a:pt x="49049" y="78198"/>
                  <a:pt x="68784" y="58503"/>
                </a:cubicBezTo>
                <a:cubicBezTo>
                  <a:pt x="117252" y="9268"/>
                  <a:pt x="202870" y="0"/>
                  <a:pt x="202870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61341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, Content and iPho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0A5685-ADC9-4197-AAEB-665323328B34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3689"/>
            <a:ext cx="5056675" cy="3329423"/>
          </a:xfrm>
        </p:spPr>
        <p:txBody>
          <a:bodyPr spcCol="54000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231F20"/>
                </a:solidFill>
              </a:rPr>
              <a:t>Asurion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>
                <a:solidFill>
                  <a:srgbClr val="231F20"/>
                </a:solidFill>
              </a:rPr>
              <a:pPr/>
              <a:t>‹#›</a:t>
            </a:fld>
            <a:endParaRPr>
              <a:solidFill>
                <a:srgbClr val="231F20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639103-1054-48CB-9C4A-BC221A9D489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0063" y="1481655"/>
            <a:ext cx="5056675" cy="786765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 descr="A picture containing monitor&#10;&#10;Description automatically generated">
            <a:extLst>
              <a:ext uri="{FF2B5EF4-FFF2-40B4-BE49-F238E27FC236}">
                <a16:creationId xmlns:a16="http://schemas.microsoft.com/office/drawing/2014/main" id="{56C82B6E-CB3C-472B-826E-0AF65C1329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8825" y="-410658"/>
            <a:ext cx="5009044" cy="7670523"/>
          </a:xfrm>
          <a:prstGeom prst="rect">
            <a:avLst/>
          </a:prstGeom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5BB1AFEC-6A42-4E41-9AB3-8AA1E87ADC0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907261" y="791536"/>
            <a:ext cx="2456870" cy="5227200"/>
          </a:xfrm>
          <a:custGeom>
            <a:avLst/>
            <a:gdLst>
              <a:gd name="connsiteX0" fmla="*/ 202870 w 1452882"/>
              <a:gd name="connsiteY0" fmla="*/ 0 h 3088800"/>
              <a:gd name="connsiteX1" fmla="*/ 307352 w 1452882"/>
              <a:gd name="connsiteY1" fmla="*/ 0 h 3088800"/>
              <a:gd name="connsiteX2" fmla="*/ 321573 w 1452882"/>
              <a:gd name="connsiteY2" fmla="*/ 16508 h 3088800"/>
              <a:gd name="connsiteX3" fmla="*/ 363366 w 1452882"/>
              <a:gd name="connsiteY3" fmla="*/ 98181 h 3088800"/>
              <a:gd name="connsiteX4" fmla="*/ 416768 w 1452882"/>
              <a:gd name="connsiteY4" fmla="*/ 106580 h 3088800"/>
              <a:gd name="connsiteX5" fmla="*/ 1056431 w 1452882"/>
              <a:gd name="connsiteY5" fmla="*/ 106580 h 3088800"/>
              <a:gd name="connsiteX6" fmla="*/ 1095902 w 1452882"/>
              <a:gd name="connsiteY6" fmla="*/ 87755 h 3088800"/>
              <a:gd name="connsiteX7" fmla="*/ 1130439 w 1452882"/>
              <a:gd name="connsiteY7" fmla="*/ 9847 h 3088800"/>
              <a:gd name="connsiteX8" fmla="*/ 1147562 w 1452882"/>
              <a:gd name="connsiteY8" fmla="*/ 579 h 3088800"/>
              <a:gd name="connsiteX9" fmla="*/ 1262202 w 1452882"/>
              <a:gd name="connsiteY9" fmla="*/ 579 h 3088800"/>
              <a:gd name="connsiteX10" fmla="*/ 1389032 w 1452882"/>
              <a:gd name="connsiteY10" fmla="*/ 62558 h 3088800"/>
              <a:gd name="connsiteX11" fmla="*/ 1440112 w 1452882"/>
              <a:gd name="connsiteY11" fmla="*/ 140466 h 3088800"/>
              <a:gd name="connsiteX12" fmla="*/ 1452882 w 1452882"/>
              <a:gd name="connsiteY12" fmla="*/ 200128 h 3088800"/>
              <a:gd name="connsiteX13" fmla="*/ 1452882 w 1452882"/>
              <a:gd name="connsiteY13" fmla="*/ 2893886 h 3088800"/>
              <a:gd name="connsiteX14" fmla="*/ 1400061 w 1452882"/>
              <a:gd name="connsiteY14" fmla="*/ 3015816 h 3088800"/>
              <a:gd name="connsiteX15" fmla="*/ 1327794 w 1452882"/>
              <a:gd name="connsiteY15" fmla="*/ 3069396 h 3088800"/>
              <a:gd name="connsiteX16" fmla="*/ 1250013 w 1452882"/>
              <a:gd name="connsiteY16" fmla="*/ 3088800 h 3088800"/>
              <a:gd name="connsiteX17" fmla="*/ 195904 w 1452882"/>
              <a:gd name="connsiteY17" fmla="*/ 3088800 h 3088800"/>
              <a:gd name="connsiteX18" fmla="*/ 120445 w 1452882"/>
              <a:gd name="connsiteY18" fmla="*/ 3067368 h 3088800"/>
              <a:gd name="connsiteX19" fmla="*/ 48178 w 1452882"/>
              <a:gd name="connsiteY19" fmla="*/ 3008865 h 3088800"/>
              <a:gd name="connsiteX20" fmla="*/ 0 w 1452882"/>
              <a:gd name="connsiteY20" fmla="*/ 2877957 h 3088800"/>
              <a:gd name="connsiteX21" fmla="*/ 871 w 1452882"/>
              <a:gd name="connsiteY21" fmla="*/ 204472 h 3088800"/>
              <a:gd name="connsiteX22" fmla="*/ 17704 w 1452882"/>
              <a:gd name="connsiteY22" fmla="*/ 126854 h 3088800"/>
              <a:gd name="connsiteX23" fmla="*/ 68784 w 1452882"/>
              <a:gd name="connsiteY23" fmla="*/ 58503 h 3088800"/>
              <a:gd name="connsiteX24" fmla="*/ 202870 w 1452882"/>
              <a:gd name="connsiteY24" fmla="*/ 0 h 30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52882" h="3088800">
                <a:moveTo>
                  <a:pt x="202870" y="0"/>
                </a:moveTo>
                <a:cubicBezTo>
                  <a:pt x="307352" y="0"/>
                  <a:pt x="307352" y="0"/>
                  <a:pt x="307352" y="0"/>
                </a:cubicBezTo>
                <a:cubicBezTo>
                  <a:pt x="307352" y="0"/>
                  <a:pt x="317220" y="2896"/>
                  <a:pt x="321573" y="16508"/>
                </a:cubicBezTo>
                <a:cubicBezTo>
                  <a:pt x="325926" y="30121"/>
                  <a:pt x="339567" y="82542"/>
                  <a:pt x="363366" y="98181"/>
                </a:cubicBezTo>
                <a:cubicBezTo>
                  <a:pt x="382231" y="110345"/>
                  <a:pt x="416768" y="106580"/>
                  <a:pt x="416768" y="106580"/>
                </a:cubicBezTo>
                <a:cubicBezTo>
                  <a:pt x="1056431" y="106580"/>
                  <a:pt x="1056431" y="106580"/>
                  <a:pt x="1056431" y="106580"/>
                </a:cubicBezTo>
                <a:cubicBezTo>
                  <a:pt x="1056431" y="106580"/>
                  <a:pt x="1080229" y="107739"/>
                  <a:pt x="1095902" y="87755"/>
                </a:cubicBezTo>
                <a:cubicBezTo>
                  <a:pt x="1111574" y="68061"/>
                  <a:pt x="1130439" y="9847"/>
                  <a:pt x="1130439" y="9847"/>
                </a:cubicBezTo>
                <a:cubicBezTo>
                  <a:pt x="1130439" y="9847"/>
                  <a:pt x="1133051" y="579"/>
                  <a:pt x="1147562" y="579"/>
                </a:cubicBezTo>
                <a:cubicBezTo>
                  <a:pt x="1162364" y="579"/>
                  <a:pt x="1255237" y="579"/>
                  <a:pt x="1262202" y="579"/>
                </a:cubicBezTo>
                <a:cubicBezTo>
                  <a:pt x="1265395" y="579"/>
                  <a:pt x="1344337" y="15060"/>
                  <a:pt x="1389032" y="62558"/>
                </a:cubicBezTo>
                <a:cubicBezTo>
                  <a:pt x="1411089" y="86017"/>
                  <a:pt x="1431115" y="114400"/>
                  <a:pt x="1440112" y="140466"/>
                </a:cubicBezTo>
                <a:cubicBezTo>
                  <a:pt x="1451431" y="172324"/>
                  <a:pt x="1452882" y="200128"/>
                  <a:pt x="1452882" y="200128"/>
                </a:cubicBezTo>
                <a:cubicBezTo>
                  <a:pt x="1452882" y="2893886"/>
                  <a:pt x="1452882" y="2893886"/>
                  <a:pt x="1452882" y="2893886"/>
                </a:cubicBezTo>
                <a:cubicBezTo>
                  <a:pt x="1452882" y="2893886"/>
                  <a:pt x="1443305" y="2974690"/>
                  <a:pt x="1400061" y="3015816"/>
                </a:cubicBezTo>
                <a:cubicBezTo>
                  <a:pt x="1373360" y="3041302"/>
                  <a:pt x="1353334" y="3058100"/>
                  <a:pt x="1327794" y="3069396"/>
                </a:cubicBezTo>
                <a:cubicBezTo>
                  <a:pt x="1287742" y="3087352"/>
                  <a:pt x="1250013" y="3088800"/>
                  <a:pt x="1250013" y="3088800"/>
                </a:cubicBezTo>
                <a:cubicBezTo>
                  <a:pt x="195904" y="3088800"/>
                  <a:pt x="195904" y="3088800"/>
                  <a:pt x="195904" y="3088800"/>
                </a:cubicBezTo>
                <a:cubicBezTo>
                  <a:pt x="195904" y="3088800"/>
                  <a:pt x="157013" y="3084456"/>
                  <a:pt x="120445" y="3067368"/>
                </a:cubicBezTo>
                <a:cubicBezTo>
                  <a:pt x="85908" y="3051439"/>
                  <a:pt x="72267" y="3034641"/>
                  <a:pt x="48178" y="3008865"/>
                </a:cubicBezTo>
                <a:cubicBezTo>
                  <a:pt x="581" y="2957602"/>
                  <a:pt x="0" y="2877957"/>
                  <a:pt x="0" y="2877957"/>
                </a:cubicBezTo>
                <a:lnTo>
                  <a:pt x="871" y="204472"/>
                </a:lnTo>
                <a:cubicBezTo>
                  <a:pt x="871" y="204472"/>
                  <a:pt x="1161" y="167111"/>
                  <a:pt x="17704" y="126854"/>
                </a:cubicBezTo>
                <a:cubicBezTo>
                  <a:pt x="27572" y="102815"/>
                  <a:pt x="49049" y="78198"/>
                  <a:pt x="68784" y="58503"/>
                </a:cubicBezTo>
                <a:cubicBezTo>
                  <a:pt x="117252" y="9268"/>
                  <a:pt x="202870" y="0"/>
                  <a:pt x="202870" y="0"/>
                </a:cubicBezTo>
                <a:close/>
              </a:path>
            </a:pathLst>
          </a:custGeom>
          <a:noFill/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609479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, Content and iPho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0A5685-ADC9-4197-AAEB-665323328B34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5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B1E377C-23FC-445F-9057-22E1F95A48B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80"/>
          <a:stretch/>
        </p:blipFill>
        <p:spPr>
          <a:xfrm>
            <a:off x="5837153" y="18049"/>
            <a:ext cx="6528348" cy="68399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3689"/>
            <a:ext cx="5056675" cy="3329423"/>
          </a:xfrm>
        </p:spPr>
        <p:txBody>
          <a:bodyPr spcCol="54000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231F20"/>
                </a:solidFill>
              </a:rPr>
              <a:t>Asurion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>
                <a:solidFill>
                  <a:srgbClr val="231F20"/>
                </a:solidFill>
              </a:rPr>
              <a:pPr/>
              <a:t>‹#›</a:t>
            </a:fld>
            <a:endParaRPr>
              <a:solidFill>
                <a:srgbClr val="231F20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639103-1054-48CB-9C4A-BC221A9D489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0063" y="1481655"/>
            <a:ext cx="5056675" cy="78676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5BB1AFEC-6A42-4E41-9AB3-8AA1E87ADC0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05554" y="872975"/>
            <a:ext cx="2456870" cy="5220000"/>
          </a:xfrm>
          <a:custGeom>
            <a:avLst/>
            <a:gdLst>
              <a:gd name="connsiteX0" fmla="*/ 202870 w 1452882"/>
              <a:gd name="connsiteY0" fmla="*/ 0 h 3088800"/>
              <a:gd name="connsiteX1" fmla="*/ 307352 w 1452882"/>
              <a:gd name="connsiteY1" fmla="*/ 0 h 3088800"/>
              <a:gd name="connsiteX2" fmla="*/ 321573 w 1452882"/>
              <a:gd name="connsiteY2" fmla="*/ 16508 h 3088800"/>
              <a:gd name="connsiteX3" fmla="*/ 363366 w 1452882"/>
              <a:gd name="connsiteY3" fmla="*/ 98181 h 3088800"/>
              <a:gd name="connsiteX4" fmla="*/ 416768 w 1452882"/>
              <a:gd name="connsiteY4" fmla="*/ 106580 h 3088800"/>
              <a:gd name="connsiteX5" fmla="*/ 1056431 w 1452882"/>
              <a:gd name="connsiteY5" fmla="*/ 106580 h 3088800"/>
              <a:gd name="connsiteX6" fmla="*/ 1095902 w 1452882"/>
              <a:gd name="connsiteY6" fmla="*/ 87755 h 3088800"/>
              <a:gd name="connsiteX7" fmla="*/ 1130439 w 1452882"/>
              <a:gd name="connsiteY7" fmla="*/ 9847 h 3088800"/>
              <a:gd name="connsiteX8" fmla="*/ 1147562 w 1452882"/>
              <a:gd name="connsiteY8" fmla="*/ 579 h 3088800"/>
              <a:gd name="connsiteX9" fmla="*/ 1262202 w 1452882"/>
              <a:gd name="connsiteY9" fmla="*/ 579 h 3088800"/>
              <a:gd name="connsiteX10" fmla="*/ 1389032 w 1452882"/>
              <a:gd name="connsiteY10" fmla="*/ 62558 h 3088800"/>
              <a:gd name="connsiteX11" fmla="*/ 1440112 w 1452882"/>
              <a:gd name="connsiteY11" fmla="*/ 140466 h 3088800"/>
              <a:gd name="connsiteX12" fmla="*/ 1452882 w 1452882"/>
              <a:gd name="connsiteY12" fmla="*/ 200128 h 3088800"/>
              <a:gd name="connsiteX13" fmla="*/ 1452882 w 1452882"/>
              <a:gd name="connsiteY13" fmla="*/ 2893886 h 3088800"/>
              <a:gd name="connsiteX14" fmla="*/ 1400061 w 1452882"/>
              <a:gd name="connsiteY14" fmla="*/ 3015816 h 3088800"/>
              <a:gd name="connsiteX15" fmla="*/ 1327794 w 1452882"/>
              <a:gd name="connsiteY15" fmla="*/ 3069396 h 3088800"/>
              <a:gd name="connsiteX16" fmla="*/ 1250013 w 1452882"/>
              <a:gd name="connsiteY16" fmla="*/ 3088800 h 3088800"/>
              <a:gd name="connsiteX17" fmla="*/ 195904 w 1452882"/>
              <a:gd name="connsiteY17" fmla="*/ 3088800 h 3088800"/>
              <a:gd name="connsiteX18" fmla="*/ 120445 w 1452882"/>
              <a:gd name="connsiteY18" fmla="*/ 3067368 h 3088800"/>
              <a:gd name="connsiteX19" fmla="*/ 48178 w 1452882"/>
              <a:gd name="connsiteY19" fmla="*/ 3008865 h 3088800"/>
              <a:gd name="connsiteX20" fmla="*/ 0 w 1452882"/>
              <a:gd name="connsiteY20" fmla="*/ 2877957 h 3088800"/>
              <a:gd name="connsiteX21" fmla="*/ 871 w 1452882"/>
              <a:gd name="connsiteY21" fmla="*/ 204472 h 3088800"/>
              <a:gd name="connsiteX22" fmla="*/ 17704 w 1452882"/>
              <a:gd name="connsiteY22" fmla="*/ 126854 h 3088800"/>
              <a:gd name="connsiteX23" fmla="*/ 68784 w 1452882"/>
              <a:gd name="connsiteY23" fmla="*/ 58503 h 3088800"/>
              <a:gd name="connsiteX24" fmla="*/ 202870 w 1452882"/>
              <a:gd name="connsiteY24" fmla="*/ 0 h 30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52882" h="3088800">
                <a:moveTo>
                  <a:pt x="202870" y="0"/>
                </a:moveTo>
                <a:cubicBezTo>
                  <a:pt x="307352" y="0"/>
                  <a:pt x="307352" y="0"/>
                  <a:pt x="307352" y="0"/>
                </a:cubicBezTo>
                <a:cubicBezTo>
                  <a:pt x="307352" y="0"/>
                  <a:pt x="317220" y="2896"/>
                  <a:pt x="321573" y="16508"/>
                </a:cubicBezTo>
                <a:cubicBezTo>
                  <a:pt x="325926" y="30121"/>
                  <a:pt x="339567" y="82542"/>
                  <a:pt x="363366" y="98181"/>
                </a:cubicBezTo>
                <a:cubicBezTo>
                  <a:pt x="382231" y="110345"/>
                  <a:pt x="416768" y="106580"/>
                  <a:pt x="416768" y="106580"/>
                </a:cubicBezTo>
                <a:cubicBezTo>
                  <a:pt x="1056431" y="106580"/>
                  <a:pt x="1056431" y="106580"/>
                  <a:pt x="1056431" y="106580"/>
                </a:cubicBezTo>
                <a:cubicBezTo>
                  <a:pt x="1056431" y="106580"/>
                  <a:pt x="1080229" y="107739"/>
                  <a:pt x="1095902" y="87755"/>
                </a:cubicBezTo>
                <a:cubicBezTo>
                  <a:pt x="1111574" y="68061"/>
                  <a:pt x="1130439" y="9847"/>
                  <a:pt x="1130439" y="9847"/>
                </a:cubicBezTo>
                <a:cubicBezTo>
                  <a:pt x="1130439" y="9847"/>
                  <a:pt x="1133051" y="579"/>
                  <a:pt x="1147562" y="579"/>
                </a:cubicBezTo>
                <a:cubicBezTo>
                  <a:pt x="1162364" y="579"/>
                  <a:pt x="1255237" y="579"/>
                  <a:pt x="1262202" y="579"/>
                </a:cubicBezTo>
                <a:cubicBezTo>
                  <a:pt x="1265395" y="579"/>
                  <a:pt x="1344337" y="15060"/>
                  <a:pt x="1389032" y="62558"/>
                </a:cubicBezTo>
                <a:cubicBezTo>
                  <a:pt x="1411089" y="86017"/>
                  <a:pt x="1431115" y="114400"/>
                  <a:pt x="1440112" y="140466"/>
                </a:cubicBezTo>
                <a:cubicBezTo>
                  <a:pt x="1451431" y="172324"/>
                  <a:pt x="1452882" y="200128"/>
                  <a:pt x="1452882" y="200128"/>
                </a:cubicBezTo>
                <a:cubicBezTo>
                  <a:pt x="1452882" y="2893886"/>
                  <a:pt x="1452882" y="2893886"/>
                  <a:pt x="1452882" y="2893886"/>
                </a:cubicBezTo>
                <a:cubicBezTo>
                  <a:pt x="1452882" y="2893886"/>
                  <a:pt x="1443305" y="2974690"/>
                  <a:pt x="1400061" y="3015816"/>
                </a:cubicBezTo>
                <a:cubicBezTo>
                  <a:pt x="1373360" y="3041302"/>
                  <a:pt x="1353334" y="3058100"/>
                  <a:pt x="1327794" y="3069396"/>
                </a:cubicBezTo>
                <a:cubicBezTo>
                  <a:pt x="1287742" y="3087352"/>
                  <a:pt x="1250013" y="3088800"/>
                  <a:pt x="1250013" y="3088800"/>
                </a:cubicBezTo>
                <a:cubicBezTo>
                  <a:pt x="195904" y="3088800"/>
                  <a:pt x="195904" y="3088800"/>
                  <a:pt x="195904" y="3088800"/>
                </a:cubicBezTo>
                <a:cubicBezTo>
                  <a:pt x="195904" y="3088800"/>
                  <a:pt x="157013" y="3084456"/>
                  <a:pt x="120445" y="3067368"/>
                </a:cubicBezTo>
                <a:cubicBezTo>
                  <a:pt x="85908" y="3051439"/>
                  <a:pt x="72267" y="3034641"/>
                  <a:pt x="48178" y="3008865"/>
                </a:cubicBezTo>
                <a:cubicBezTo>
                  <a:pt x="581" y="2957602"/>
                  <a:pt x="0" y="2877957"/>
                  <a:pt x="0" y="2877957"/>
                </a:cubicBezTo>
                <a:lnTo>
                  <a:pt x="871" y="204472"/>
                </a:lnTo>
                <a:cubicBezTo>
                  <a:pt x="871" y="204472"/>
                  <a:pt x="1161" y="167111"/>
                  <a:pt x="17704" y="126854"/>
                </a:cubicBezTo>
                <a:cubicBezTo>
                  <a:pt x="27572" y="102815"/>
                  <a:pt x="49049" y="78198"/>
                  <a:pt x="68784" y="58503"/>
                </a:cubicBezTo>
                <a:cubicBezTo>
                  <a:pt x="117252" y="9268"/>
                  <a:pt x="202870" y="0"/>
                  <a:pt x="202870" y="0"/>
                </a:cubicBezTo>
                <a:close/>
              </a:path>
            </a:pathLst>
          </a:custGeom>
          <a:noFill/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581807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rge Quote with Ima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4D66C40-4190-451C-BFBE-6482F5E51F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algn="r">
              <a:defRPr/>
            </a:lvl1pPr>
          </a:lstStyle>
          <a:p>
            <a:r>
              <a:rPr lang="en-US"/>
              <a:t>&lt;Click Icon to add image </a:t>
            </a:r>
            <a:endParaRPr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59EB59-5BB5-46C4-96FD-D1649C3BDE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82A4FB-3DFD-41EC-92CF-1DD7104087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89870444-DC05-4334-BFD6-251E58C00D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8912" y="502920"/>
            <a:ext cx="5592445" cy="5378450"/>
          </a:xfrm>
        </p:spPr>
        <p:txBody>
          <a:bodyPr/>
          <a:lstStyle>
            <a:lvl1pPr marL="180975" indent="-169863">
              <a:lnSpc>
                <a:spcPct val="100000"/>
              </a:lnSpc>
              <a:tabLst/>
              <a:defRPr sz="3200" b="0"/>
            </a:lvl1pPr>
            <a:lvl2pPr marL="447675" indent="-279400">
              <a:lnSpc>
                <a:spcPct val="100000"/>
              </a:lnSpc>
              <a:spcBef>
                <a:spcPts val="4200"/>
              </a:spcBef>
              <a:buClr>
                <a:schemeClr val="tx1"/>
              </a:buClr>
              <a:buFont typeface="Arial" panose="020B0604020202020204" pitchFamily="34" charset="0"/>
              <a:buChar char="―"/>
              <a:tabLst/>
              <a:defRPr/>
            </a:lvl2pPr>
            <a:lvl3pPr marL="628650" indent="-176213">
              <a:defRPr/>
            </a:lvl3pPr>
            <a:lvl4pPr marL="804863" indent="-180975">
              <a:defRPr/>
            </a:lvl4pPr>
            <a:lvl5pPr marL="985838" indent="-180975">
              <a:defRPr/>
            </a:lvl5pPr>
          </a:lstStyle>
          <a:p>
            <a:pPr lvl="0"/>
            <a:r>
              <a:t>“Click to edit Master text style</a:t>
            </a:r>
          </a:p>
          <a:p>
            <a:pPr lvl="1"/>
            <a:r>
              <a:t>Second level</a:t>
            </a:r>
          </a:p>
        </p:txBody>
      </p:sp>
      <p:grpSp>
        <p:nvGrpSpPr>
          <p:cNvPr id="21" name="asurion logo">
            <a:extLst>
              <a:ext uri="{FF2B5EF4-FFF2-40B4-BE49-F238E27FC236}">
                <a16:creationId xmlns:a16="http://schemas.microsoft.com/office/drawing/2014/main" id="{E55B49D8-5EEE-AD48-9EBD-B5AFB6C0983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1" y="6390186"/>
            <a:ext cx="918000" cy="213052"/>
            <a:chOff x="316" y="3952"/>
            <a:chExt cx="586" cy="136"/>
          </a:xfrm>
          <a:solidFill>
            <a:schemeClr val="tx1"/>
          </a:solidFill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6B58FAA7-A5CD-834E-B388-106BCA70F5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19992F17-3371-C547-8892-9B61328C15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13444910-E83A-454A-8F5F-98B05F75D2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7891E522-2F07-4E42-BB54-F095120429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A7914F86-14E6-F24C-93D3-9E74D4CDC2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586A02BD-5E6F-9A43-924A-4527C76B007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C3848A2A-2BA2-C445-8994-F35C259D7A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7730308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Quote with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D8020A8B-C6C0-D446-B3B4-3B71BF4A549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43650" y="0"/>
            <a:ext cx="58483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t>Asurion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2C061E27-6E5D-0F45-87C9-E8095C3CAE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8912" y="502920"/>
            <a:ext cx="5592445" cy="5378450"/>
          </a:xfrm>
        </p:spPr>
        <p:txBody>
          <a:bodyPr/>
          <a:lstStyle>
            <a:lvl1pPr marL="182880" indent="-173736">
              <a:lnSpc>
                <a:spcPct val="100000"/>
              </a:lnSpc>
              <a:tabLst/>
              <a:defRPr sz="3200" b="0"/>
            </a:lvl1pPr>
            <a:lvl2pPr marL="447675" indent="-279400">
              <a:lnSpc>
                <a:spcPct val="100000"/>
              </a:lnSpc>
              <a:spcBef>
                <a:spcPts val="4200"/>
              </a:spcBef>
              <a:buClr>
                <a:schemeClr val="tx1"/>
              </a:buClr>
              <a:buFont typeface="Arial" panose="020B0604020202020204" pitchFamily="34" charset="0"/>
              <a:buChar char="―"/>
              <a:tabLst/>
              <a:defRPr/>
            </a:lvl2pPr>
            <a:lvl3pPr marL="628650" indent="-176213">
              <a:defRPr/>
            </a:lvl3pPr>
            <a:lvl4pPr marL="804863" indent="-180975">
              <a:defRPr/>
            </a:lvl4pPr>
            <a:lvl5pPr marL="985838" indent="-180975">
              <a:defRPr/>
            </a:lvl5pPr>
          </a:lstStyle>
          <a:p>
            <a:pPr lvl="0"/>
            <a:r>
              <a:t>“Click to edit Master text style</a:t>
            </a:r>
          </a:p>
          <a:p>
            <a:pPr lvl="1"/>
            <a: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58991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Text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>
            <a:extLst>
              <a:ext uri="{FF2B5EF4-FFF2-40B4-BE49-F238E27FC236}">
                <a16:creationId xmlns:a16="http://schemas.microsoft.com/office/drawing/2014/main" id="{8DB64F27-9AE8-0B46-A470-371BD746B7B5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32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22F74907-9901-41D8-B02E-D5156ACAC59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t>Asurion Internal Use Only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CD76F14-B7C1-4783-A9BB-4763BFA8875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523840A8-30E6-8342-B7EF-D226048008E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0063" y="2281373"/>
            <a:ext cx="5095874" cy="923330"/>
          </a:xfrm>
        </p:spPr>
        <p:txBody>
          <a:bodyPr wrap="square" lIns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6000" b="0"/>
            </a:lvl1pPr>
          </a:lstStyle>
          <a:p>
            <a:pPr lvl="0"/>
            <a:r>
              <a:t>Click to edit</a:t>
            </a:r>
          </a:p>
        </p:txBody>
      </p:sp>
      <p:sp>
        <p:nvSpPr>
          <p:cNvPr id="106" name="Text Placeholder 4">
            <a:extLst>
              <a:ext uri="{FF2B5EF4-FFF2-40B4-BE49-F238E27FC236}">
                <a16:creationId xmlns:a16="http://schemas.microsoft.com/office/drawing/2014/main" id="{69BB6328-9600-6B44-B410-6228CDEF901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0064" y="3257439"/>
            <a:ext cx="5095874" cy="1445421"/>
          </a:xfrm>
        </p:spPr>
        <p:txBody>
          <a:bodyPr lIns="0"/>
          <a:lstStyle>
            <a:lvl1pPr algn="l">
              <a:lnSpc>
                <a:spcPct val="100000"/>
              </a:lnSpc>
              <a:spcBef>
                <a:spcPts val="300"/>
              </a:spcBef>
              <a:defRPr sz="18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9425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Text N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2462A87A-469A-A743-8042-DB4369DE1B20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804864"/>
            <a:ext cx="5056632" cy="4822214"/>
          </a:xfrm>
        </p:spPr>
        <p:txBody>
          <a:bodyPr anchor="ctr" anchorCtr="0"/>
          <a:lstStyle>
            <a:lvl1pPr>
              <a:lnSpc>
                <a:spcPct val="90000"/>
              </a:lnSpc>
              <a:defRPr sz="8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DF938D9-FDBF-4E2E-9864-B9A3DEB81AA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t>Asurion Internal Use Only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3F92F295-8332-4AF1-945C-EF34A8F3D0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EEF77736-11B3-FD47-8D1A-0948642A926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97748" y="1387172"/>
            <a:ext cx="5094189" cy="3657599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1800" b="0"/>
            </a:lvl1pPr>
          </a:lstStyle>
          <a:p>
            <a:pPr lvl="0"/>
            <a:r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3463674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r Team Layou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0DFA8-C5FE-DB44-9BF9-1274EAD5637C}" type="slidenum">
              <a:rPr/>
              <a:t>‹#›</a:t>
            </a:fld>
            <a:endParaRPr/>
          </a:p>
        </p:txBody>
      </p:sp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en-US" sz="11500" b="0" i="0" spc="100">
                <a:solidFill>
                  <a:srgbClr val="FFFFFF"/>
                </a:solidFill>
                <a:latin typeface="+mj-lt"/>
              </a:rPr>
              <a:t>MORE</a:t>
            </a:r>
            <a:br>
              <a:rPr sz="11500" b="0" i="0" spc="100">
                <a:solidFill>
                  <a:srgbClr val="FFFFFF"/>
                </a:solidFill>
                <a:latin typeface="+mj-lt"/>
              </a:rPr>
            </a:br>
            <a:r>
              <a:rPr sz="11500" b="0" i="0" spc="100">
                <a:solidFill>
                  <a:srgbClr val="FFFFFF"/>
                </a:solidFill>
                <a:latin typeface="+mj-lt"/>
              </a:rPr>
              <a:t>LAYOU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0C9D3A-9A1A-C140-B0F7-9A8C63C4D4BD}"/>
              </a:ext>
            </a:extLst>
          </p:cNvPr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sz="1100" b="0" i="0" kern="1200">
                <a:solidFill>
                  <a:schemeClr val="bg1">
                    <a:lumMod val="85000"/>
                  </a:schemeClr>
                </a:solidFill>
                <a:effectLst/>
                <a:latin typeface="+mn-lt"/>
                <a:ea typeface="+mn-ea"/>
                <a:cs typeface="+mn-cs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7955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r Team - Her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7A85A9E-2A2D-433F-BD91-82053E5A19D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43650" y="0"/>
            <a:ext cx="5848350" cy="6858000"/>
          </a:xfrm>
        </p:spPr>
        <p:txBody>
          <a:bodyPr anchor="ctr"/>
          <a:lstStyle>
            <a:lvl1pPr algn="l">
              <a:defRPr/>
            </a:lvl1pPr>
          </a:lstStyle>
          <a:p>
            <a:r>
              <a:rPr lang="en-US"/>
              <a:t>Click icon to add image&gt;</a:t>
            </a: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272087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4C8F12B-D471-4524-A21D-E2E0C4A3A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203B0C-11E9-4FDC-A004-C78D9EB13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97D1946-A27B-43F9-B00A-FC4DE83AD0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0063" y="3091180"/>
            <a:ext cx="5272087" cy="2755582"/>
          </a:xfrm>
        </p:spPr>
        <p:txBody>
          <a:bodyPr spcCol="540000"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0678756-BBF3-439F-ADEE-A76D2E9A1370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0063" y="2019945"/>
            <a:ext cx="5272087" cy="786765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2000" b="1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89375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r Team - 4 Peo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4C8F12B-D471-4524-A21D-E2E0C4A3A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203B0C-11E9-4FDC-A004-C78D9EB13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42ACEDA4-5C2A-4931-AC44-4B272EE3D58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00062" y="2539729"/>
            <a:ext cx="2547937" cy="2671005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F760FFA7-619E-40DF-AC66-F5C11B33A9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00063" y="5312999"/>
            <a:ext cx="2547936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CD369C5-DA54-4EC8-A861-59B2E550C75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0063" y="1459594"/>
            <a:ext cx="5799137" cy="844899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Picture Placeholder 8">
            <a:extLst>
              <a:ext uri="{FF2B5EF4-FFF2-40B4-BE49-F238E27FC236}">
                <a16:creationId xmlns:a16="http://schemas.microsoft.com/office/drawing/2014/main" id="{B5446C24-2D9C-42B4-901E-1052A1C6C28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381374" y="2539729"/>
            <a:ext cx="2547937" cy="2671005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7CB72C08-8293-4857-B537-E62B2714B7F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81375" y="5312999"/>
            <a:ext cx="2547936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3" name="Picture Placeholder 8">
            <a:extLst>
              <a:ext uri="{FF2B5EF4-FFF2-40B4-BE49-F238E27FC236}">
                <a16:creationId xmlns:a16="http://schemas.microsoft.com/office/drawing/2014/main" id="{2A475AAB-A6A9-4D28-90C7-B96351B827EF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262686" y="2539729"/>
            <a:ext cx="2547937" cy="2671005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2C717BB1-0365-4267-8343-54A47BB3B84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62687" y="5312999"/>
            <a:ext cx="2547936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5" name="Picture Placeholder 8">
            <a:extLst>
              <a:ext uri="{FF2B5EF4-FFF2-40B4-BE49-F238E27FC236}">
                <a16:creationId xmlns:a16="http://schemas.microsoft.com/office/drawing/2014/main" id="{52CFDD9E-D8C9-4A66-B0BF-B1F5FECE10A7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143999" y="2539729"/>
            <a:ext cx="2547937" cy="2671005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7291B81A-9C50-4F49-A41B-441287B3D49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144000" y="5312999"/>
            <a:ext cx="2547936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95882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9747BD37-3BEA-40D2-8343-2CB995B91822}"/>
              </a:ext>
            </a:extLst>
          </p:cNvPr>
          <p:cNvSpPr/>
          <p:nvPr/>
        </p:nvSpPr>
        <p:spPr>
          <a:xfrm>
            <a:off x="0" y="0"/>
            <a:ext cx="2286000" cy="17811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4C88EA-B1EA-4FA0-8279-C122B539260B}"/>
              </a:ext>
            </a:extLst>
          </p:cNvPr>
          <p:cNvSpPr/>
          <p:nvPr/>
        </p:nvSpPr>
        <p:spPr>
          <a:xfrm>
            <a:off x="0" y="1781175"/>
            <a:ext cx="2286000" cy="5076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781574" y="446744"/>
            <a:ext cx="6298925" cy="2147594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/>
            </a:br>
            <a:r>
              <a:t>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2789057" y="2762591"/>
            <a:ext cx="6291442" cy="67405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D17E435-7649-47BA-B3A0-AA4F57BBB1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2879" y="273607"/>
            <a:ext cx="1944810" cy="1428584"/>
          </a:xfrm>
        </p:spPr>
        <p:txBody>
          <a:bodyPr/>
          <a:lstStyle>
            <a:lvl1pPr algn="ctr">
              <a:spcBef>
                <a:spcPts val="0"/>
              </a:spcBef>
              <a:defRPr sz="8000" b="0">
                <a:solidFill>
                  <a:schemeClr val="bg1"/>
                </a:solidFill>
              </a:defRPr>
            </a:lvl1pPr>
          </a:lstStyle>
          <a:p>
            <a:pPr lvl="0"/>
            <a:r>
              <a:t>00</a:t>
            </a:r>
          </a:p>
        </p:txBody>
      </p:sp>
      <p:grpSp>
        <p:nvGrpSpPr>
          <p:cNvPr id="11" name="asurion logo">
            <a:extLst>
              <a:ext uri="{FF2B5EF4-FFF2-40B4-BE49-F238E27FC236}">
                <a16:creationId xmlns:a16="http://schemas.microsoft.com/office/drawing/2014/main" id="{C7358717-6715-9E44-A068-A7FC60CA96D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1" y="6390186"/>
            <a:ext cx="918000" cy="213052"/>
            <a:chOff x="316" y="3952"/>
            <a:chExt cx="586" cy="136"/>
          </a:xfrm>
          <a:solidFill>
            <a:schemeClr val="tx1"/>
          </a:solidFill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D3603A01-45DA-5A47-AD42-93373378A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AD2FF58D-2A25-9344-B27B-E66EF3E13A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47B47A3D-A2AE-B44B-9805-F10DDF88E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3ABE1799-2661-C346-88AD-D93AF4F49D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6DBBDC10-20A7-0643-A02A-86E0D5F830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1F1030EA-EEDA-3546-8BC7-FF764C45D49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2CB39BA2-CCB4-7C49-8EBE-81D3153223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1575776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r Team - 10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4C8F12B-D471-4524-A21D-E2E0C4A3A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203B0C-11E9-4FDC-A004-C78D9EB13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A96F96D-5B2A-4821-929C-693CE24507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54063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2C5BA96-5869-4596-91D0-7DD77C3EB1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4063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973D2E0-934B-41D5-82A0-62209386DE7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0658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A25A260C-231A-4C7D-AC21-2F7C4413A85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0658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C66A25ED-9F96-4CE8-9724-8845BA58AF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327253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52BC4897-BC53-48EB-A869-983B961BAEC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327253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7F9493D9-27E8-4C58-8C9A-BD758C433DA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613848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B1B0EC22-7FA4-4FEC-84D2-F2823D45EF7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613848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044B693C-2ED8-48BA-B28D-0F6D5403062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900444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374A221F-25BC-4324-A8A9-E1AE12AF1C7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900444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42ACEDA4-5C2A-4931-AC44-4B272EE3D58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54063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F760FFA7-619E-40DF-AC66-F5C11B33A9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4063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2CE14DD0-BB0E-4446-ABC6-6CFED7CDCB1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040658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71592548-EBE0-45EC-8256-9C52CC8304E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040658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Picture Placeholder 8">
            <a:extLst>
              <a:ext uri="{FF2B5EF4-FFF2-40B4-BE49-F238E27FC236}">
                <a16:creationId xmlns:a16="http://schemas.microsoft.com/office/drawing/2014/main" id="{EE677E7A-20A3-4078-9426-D487E58A945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5327253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E565FACF-CA40-43FE-A69B-85DF95209ED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327253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Picture Placeholder 8">
            <a:extLst>
              <a:ext uri="{FF2B5EF4-FFF2-40B4-BE49-F238E27FC236}">
                <a16:creationId xmlns:a16="http://schemas.microsoft.com/office/drawing/2014/main" id="{29F613E7-EBD7-4FE9-B4BD-EC08FA1677FF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7613848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73B69718-9FDD-4EF4-BF7F-2D4BFA41DEA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613848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Picture Placeholder 8">
            <a:extLst>
              <a:ext uri="{FF2B5EF4-FFF2-40B4-BE49-F238E27FC236}">
                <a16:creationId xmlns:a16="http://schemas.microsoft.com/office/drawing/2014/main" id="{F9657D82-B2B7-42EE-A283-C05595EE506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900444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98492975-1781-40CF-AD27-B854895CB94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900444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75709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r Team Dark - Her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7A85A9E-2A2D-433F-BD91-82053E5A19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43650" y="0"/>
            <a:ext cx="58483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272087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4C8F12B-D471-4524-A21D-E2E0C4A3A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203B0C-11E9-4FDC-A004-C78D9EB13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97D1946-A27B-43F9-B00A-FC4DE83AD0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0063" y="3091180"/>
            <a:ext cx="5272087" cy="2755582"/>
          </a:xfrm>
        </p:spPr>
        <p:txBody>
          <a:bodyPr spcCol="540000"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0678756-BBF3-439F-ADEE-A76D2E9A1370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0063" y="2019945"/>
            <a:ext cx="5272087" cy="786765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2000" b="1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95357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r Team Dark - 4 Peo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4C8F12B-D471-4524-A21D-E2E0C4A3A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203B0C-11E9-4FDC-A004-C78D9EB13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42ACEDA4-5C2A-4931-AC44-4B272EE3D58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00062" y="2539729"/>
            <a:ext cx="2547937" cy="2671005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F760FFA7-619E-40DF-AC66-F5C11B33A9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00063" y="5312999"/>
            <a:ext cx="2547936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CD369C5-DA54-4EC8-A861-59B2E550C75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0063" y="1459594"/>
            <a:ext cx="5799137" cy="844899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Picture Placeholder 8">
            <a:extLst>
              <a:ext uri="{FF2B5EF4-FFF2-40B4-BE49-F238E27FC236}">
                <a16:creationId xmlns:a16="http://schemas.microsoft.com/office/drawing/2014/main" id="{B5446C24-2D9C-42B4-901E-1052A1C6C28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381374" y="2539729"/>
            <a:ext cx="2547937" cy="2671005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7CB72C08-8293-4857-B537-E62B2714B7F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81375" y="5312999"/>
            <a:ext cx="2547936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3" name="Picture Placeholder 8">
            <a:extLst>
              <a:ext uri="{FF2B5EF4-FFF2-40B4-BE49-F238E27FC236}">
                <a16:creationId xmlns:a16="http://schemas.microsoft.com/office/drawing/2014/main" id="{2A475AAB-A6A9-4D28-90C7-B96351B827EF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262686" y="2539729"/>
            <a:ext cx="2547937" cy="2671005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2C717BB1-0365-4267-8343-54A47BB3B84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62687" y="5312999"/>
            <a:ext cx="2547936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5" name="Picture Placeholder 8">
            <a:extLst>
              <a:ext uri="{FF2B5EF4-FFF2-40B4-BE49-F238E27FC236}">
                <a16:creationId xmlns:a16="http://schemas.microsoft.com/office/drawing/2014/main" id="{52CFDD9E-D8C9-4A66-B0BF-B1F5FECE10A7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143999" y="2539729"/>
            <a:ext cx="2547937" cy="2671005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7291B81A-9C50-4F49-A41B-441287B3D49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144000" y="5312999"/>
            <a:ext cx="2547936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522356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r Team Dark - 10 Peo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4C8F12B-D471-4524-A21D-E2E0C4A3A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203B0C-11E9-4FDC-A004-C78D9EB13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A96F96D-5B2A-4821-929C-693CE24507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54063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2C5BA96-5869-4596-91D0-7DD77C3EB1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4063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973D2E0-934B-41D5-82A0-62209386DE7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0658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A25A260C-231A-4C7D-AC21-2F7C4413A85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0658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C66A25ED-9F96-4CE8-9724-8845BA58AF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327253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52BC4897-BC53-48EB-A869-983B961BAEC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327253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7F9493D9-27E8-4C58-8C9A-BD758C433DA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613848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B1B0EC22-7FA4-4FEC-84D2-F2823D45EF7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613848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044B693C-2ED8-48BA-B28D-0F6D5403062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900444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374A221F-25BC-4324-A8A9-E1AE12AF1C7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900444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42ACEDA4-5C2A-4931-AC44-4B272EE3D58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54063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F760FFA7-619E-40DF-AC66-F5C11B33A9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4063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2CE14DD0-BB0E-4446-ABC6-6CFED7CDCB1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040658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71592548-EBE0-45EC-8256-9C52CC8304E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040658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Picture Placeholder 8">
            <a:extLst>
              <a:ext uri="{FF2B5EF4-FFF2-40B4-BE49-F238E27FC236}">
                <a16:creationId xmlns:a16="http://schemas.microsoft.com/office/drawing/2014/main" id="{EE677E7A-20A3-4078-9426-D487E58A945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5327253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E565FACF-CA40-43FE-A69B-85DF95209ED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327253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Picture Placeholder 8">
            <a:extLst>
              <a:ext uri="{FF2B5EF4-FFF2-40B4-BE49-F238E27FC236}">
                <a16:creationId xmlns:a16="http://schemas.microsoft.com/office/drawing/2014/main" id="{29F613E7-EBD7-4FE9-B4BD-EC08FA1677FF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7613848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73B69718-9FDD-4EF4-BF7F-2D4BFA41DEA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613848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Picture Placeholder 8">
            <a:extLst>
              <a:ext uri="{FF2B5EF4-FFF2-40B4-BE49-F238E27FC236}">
                <a16:creationId xmlns:a16="http://schemas.microsoft.com/office/drawing/2014/main" id="{F9657D82-B2B7-42EE-A283-C05595EE506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900444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98492975-1781-40CF-AD27-B854895CB94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900444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171095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oid layou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0DFA8-C5FE-DB44-9BF9-1274EAD5637C}" type="slidenum">
              <a:rPr/>
              <a:t>‹#›</a:t>
            </a:fld>
            <a:endParaRPr/>
          </a:p>
        </p:txBody>
      </p:sp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sz="11500" b="0" i="0" spc="100">
                <a:solidFill>
                  <a:srgbClr val="FFFFFF"/>
                </a:solidFill>
                <a:latin typeface="+mj-lt"/>
              </a:rPr>
              <a:t>FACTOID</a:t>
            </a:r>
            <a:br>
              <a:rPr sz="11500" b="0" i="0" spc="100">
                <a:solidFill>
                  <a:srgbClr val="FFFFFF"/>
                </a:solidFill>
                <a:latin typeface="+mj-lt"/>
              </a:rPr>
            </a:br>
            <a:r>
              <a:rPr sz="11500" b="0" i="0" spc="100">
                <a:solidFill>
                  <a:srgbClr val="FFFFFF"/>
                </a:solidFill>
                <a:latin typeface="+mj-lt"/>
              </a:rPr>
              <a:t>LAYOU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0C9D3A-9A1A-C140-B0F7-9A8C63C4D4BD}"/>
              </a:ext>
            </a:extLst>
          </p:cNvPr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sz="1100" b="0" i="0" kern="1200">
                <a:solidFill>
                  <a:schemeClr val="bg1">
                    <a:lumMod val="85000"/>
                  </a:schemeClr>
                </a:solidFill>
                <a:effectLst/>
                <a:latin typeface="+mn-lt"/>
                <a:ea typeface="+mn-ea"/>
                <a:cs typeface="+mn-cs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9953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llustration with Facto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22F74907-9901-41D8-B02E-D5156ACAC59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CD76F14-B7C1-4783-A9BB-4763BFA8875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3466A7-5C27-FB4B-A9B7-F2C26253EB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95799" y="2661861"/>
            <a:ext cx="5344954" cy="923330"/>
          </a:xfrm>
        </p:spPr>
        <p:txBody>
          <a:bodyPr wrap="square" lIns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6000" b="0"/>
            </a:lvl1pPr>
          </a:lstStyle>
          <a:p>
            <a:pPr lvl="0"/>
            <a:r>
              <a:t>Click to edi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47CD0EF-8E5D-2D41-8F67-55AB7DD0D3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95800" y="3637927"/>
            <a:ext cx="5344954" cy="1100547"/>
          </a:xfrm>
        </p:spPr>
        <p:txBody>
          <a:bodyPr lIns="0"/>
          <a:lstStyle>
            <a:lvl1pPr algn="l">
              <a:lnSpc>
                <a:spcPct val="100000"/>
              </a:lnSpc>
              <a:spcBef>
                <a:spcPts val="0"/>
              </a:spcBef>
              <a:defRPr sz="1800" b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3AED009-9A6B-3C46-8DBC-C47FFB4586AF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174489" y="2483443"/>
            <a:ext cx="2210344" cy="2354581"/>
          </a:xfrm>
        </p:spPr>
        <p:txBody>
          <a:bodyPr/>
          <a:lstStyle>
            <a:lvl1pPr>
              <a:defRPr sz="1200" b="0"/>
            </a:lvl1pPr>
          </a:lstStyle>
          <a:p>
            <a:pPr lvl="0"/>
            <a:r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3953953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llustration with Factoid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0A5685-ADC9-4197-AAEB-665323328B34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t>Asurion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C23BE928-69FE-1A4A-815A-A8E605AA498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34615" y="1041400"/>
            <a:ext cx="5157323" cy="484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5EE7C6A-85A2-5D4F-B0CF-D40F227A6FE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0063" y="2412005"/>
            <a:ext cx="5095874" cy="923330"/>
          </a:xfrm>
        </p:spPr>
        <p:txBody>
          <a:bodyPr wrap="square" lIns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6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t>Click to edi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6F3E38C-204B-FB48-A789-CED878B5326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0064" y="3388071"/>
            <a:ext cx="5095874" cy="1445421"/>
          </a:xfrm>
        </p:spPr>
        <p:txBody>
          <a:bodyPr lIns="0"/>
          <a:lstStyle>
            <a:lvl1pPr algn="l">
              <a:lnSpc>
                <a:spcPct val="100000"/>
              </a:lnSpc>
              <a:spcBef>
                <a:spcPts val="0"/>
              </a:spcBef>
              <a:defRPr sz="1800" b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728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oid Split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33A7F6AC-2D36-EA4B-9F5B-00305F9EAB16}"/>
              </a:ext>
            </a:extLst>
          </p:cNvPr>
          <p:cNvSpPr/>
          <p:nvPr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D2E75D1-50C8-A44B-85EE-80C0B5736536}"/>
              </a:ext>
            </a:extLst>
          </p:cNvPr>
          <p:cNvSpPr/>
          <p:nvPr/>
        </p:nvSpPr>
        <p:spPr>
          <a:xfrm>
            <a:off x="6096000" y="0"/>
            <a:ext cx="6096000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32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DF938D9-FDBF-4E2E-9864-B9A3DEB81AA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t>Asurion Internal Use Only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3F92F295-8332-4AF1-945C-EF34A8F3D0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1AA52CFB-7227-B94E-A04F-5E3794B0F8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00064" y="2350522"/>
            <a:ext cx="5095874" cy="2254135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 b="0">
                <a:latin typeface="+mn-lt"/>
              </a:defRPr>
            </a:lvl1pPr>
          </a:lstStyle>
          <a:p>
            <a:pPr lvl="0"/>
            <a:r>
              <a:t>Click to edit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F5A3AB30-CF44-7248-A3D3-3F5409CF34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35700" y="1235904"/>
            <a:ext cx="2863693" cy="1231106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8000" b="0">
                <a:solidFill>
                  <a:schemeClr val="bg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703B6F5A-60F0-DC4B-A37F-01DBA21C5CB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3204" y="1415428"/>
            <a:ext cx="2458733" cy="837118"/>
          </a:xfrm>
        </p:spPr>
        <p:txBody>
          <a:bodyPr lIns="91440" anchor="ctr" anchorCtr="0"/>
          <a:lstStyle>
            <a:lvl1pPr algn="l">
              <a:lnSpc>
                <a:spcPct val="100000"/>
              </a:lnSpc>
              <a:spcBef>
                <a:spcPts val="0"/>
              </a:spcBef>
              <a:defRPr sz="14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t>Click to edi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956821E9-8772-804F-B6CD-FF23B856CA86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7667546" y="3801447"/>
            <a:ext cx="2937214" cy="2090868"/>
          </a:xfrm>
        </p:spPr>
        <p:txBody>
          <a:bodyPr/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30454297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ght Numbered F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22F74907-9901-41D8-B02E-D5156ACAC59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CD76F14-B7C1-4783-A9BB-4763BFA8875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1866E3A-7DEB-5C4E-8324-44DAFB7110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9032" y="2645919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2203A6C8-48F7-4D4E-AD85-EAA8F99930F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99034" y="2009049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54" name="Text Placeholder 10">
            <a:extLst>
              <a:ext uri="{FF2B5EF4-FFF2-40B4-BE49-F238E27FC236}">
                <a16:creationId xmlns:a16="http://schemas.microsoft.com/office/drawing/2014/main" id="{CF2CF0DB-CDB9-1C4A-8839-F41C532D5CB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03870" y="2009049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55" name="Text Placeholder 10">
            <a:extLst>
              <a:ext uri="{FF2B5EF4-FFF2-40B4-BE49-F238E27FC236}">
                <a16:creationId xmlns:a16="http://schemas.microsoft.com/office/drawing/2014/main" id="{AE28C0EB-3AAE-0047-9B43-726D44D9703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564953" y="2645919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B085BC16-2098-9147-A6CA-B4CD22B9ED7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64955" y="2009049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57" name="Text Placeholder 10">
            <a:extLst>
              <a:ext uri="{FF2B5EF4-FFF2-40B4-BE49-F238E27FC236}">
                <a16:creationId xmlns:a16="http://schemas.microsoft.com/office/drawing/2014/main" id="{9E61EAAA-A66E-D846-8EDA-9834B2616C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169791" y="2009049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288D383F-E969-DA4F-BE90-F15614FF248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355954" y="2643295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A40412F6-ABC2-824C-A321-7EB4158892A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55956" y="2006425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F8D29A9A-8DF4-7141-834D-BD93C48F105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960792" y="2006425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61" name="Text Placeholder 10">
            <a:extLst>
              <a:ext uri="{FF2B5EF4-FFF2-40B4-BE49-F238E27FC236}">
                <a16:creationId xmlns:a16="http://schemas.microsoft.com/office/drawing/2014/main" id="{843DE115-8C87-8344-8886-25A75BB8D9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087822" y="2645919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A7C507EF-6B56-8142-A1B5-703F7301FA5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087824" y="2009049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63" name="Text Placeholder 10">
            <a:extLst>
              <a:ext uri="{FF2B5EF4-FFF2-40B4-BE49-F238E27FC236}">
                <a16:creationId xmlns:a16="http://schemas.microsoft.com/office/drawing/2014/main" id="{047276DC-2172-434C-A123-1524D3E5DB8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692660" y="2009049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67" name="Text Placeholder 10">
            <a:extLst>
              <a:ext uri="{FF2B5EF4-FFF2-40B4-BE49-F238E27FC236}">
                <a16:creationId xmlns:a16="http://schemas.microsoft.com/office/drawing/2014/main" id="{CD273DAC-811D-1A48-B24F-1BEC6D6CAE3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99032" y="4578907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E22A3C03-E052-BE45-AB65-9153D3E5240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99034" y="3942037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69" name="Text Placeholder 10">
            <a:extLst>
              <a:ext uri="{FF2B5EF4-FFF2-40B4-BE49-F238E27FC236}">
                <a16:creationId xmlns:a16="http://schemas.microsoft.com/office/drawing/2014/main" id="{6D80D084-8BE0-AA45-9990-239C8C7054E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03870" y="3942037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70" name="Text Placeholder 10">
            <a:extLst>
              <a:ext uri="{FF2B5EF4-FFF2-40B4-BE49-F238E27FC236}">
                <a16:creationId xmlns:a16="http://schemas.microsoft.com/office/drawing/2014/main" id="{3D6EC247-3707-CF41-9AFF-46DCFF35B9C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564953" y="4578907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F712BE49-08EC-9644-BA42-E079E6F4B0A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564955" y="3942037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72" name="Text Placeholder 10">
            <a:extLst>
              <a:ext uri="{FF2B5EF4-FFF2-40B4-BE49-F238E27FC236}">
                <a16:creationId xmlns:a16="http://schemas.microsoft.com/office/drawing/2014/main" id="{BB6BD5CF-5783-3C4F-BF8D-B06E51A0EC61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169791" y="3942037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73" name="Text Placeholder 10">
            <a:extLst>
              <a:ext uri="{FF2B5EF4-FFF2-40B4-BE49-F238E27FC236}">
                <a16:creationId xmlns:a16="http://schemas.microsoft.com/office/drawing/2014/main" id="{89364852-4B67-BE4C-B32D-D6F4629D287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355954" y="4576283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EAB19194-3969-F64C-86BF-9B57D83CAF3B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355956" y="3939413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75" name="Text Placeholder 10">
            <a:extLst>
              <a:ext uri="{FF2B5EF4-FFF2-40B4-BE49-F238E27FC236}">
                <a16:creationId xmlns:a16="http://schemas.microsoft.com/office/drawing/2014/main" id="{49080CC3-7630-F140-9CF8-8794360A547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960792" y="3939413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76" name="Text Placeholder 10">
            <a:extLst>
              <a:ext uri="{FF2B5EF4-FFF2-40B4-BE49-F238E27FC236}">
                <a16:creationId xmlns:a16="http://schemas.microsoft.com/office/drawing/2014/main" id="{56852BAC-70A5-1D4E-BC18-FBEFD6D03BB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087822" y="4578907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259A7000-3C5E-BB43-A5AE-594FB6186AE2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087824" y="3942037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78" name="Text Placeholder 10">
            <a:extLst>
              <a:ext uri="{FF2B5EF4-FFF2-40B4-BE49-F238E27FC236}">
                <a16:creationId xmlns:a16="http://schemas.microsoft.com/office/drawing/2014/main" id="{771ABC88-66E2-FB42-807A-A13D16900BA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692660" y="3942037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</p:spTree>
    <p:extLst>
      <p:ext uri="{BB962C8B-B14F-4D97-AF65-F5344CB8AC3E}">
        <p14:creationId xmlns:p14="http://schemas.microsoft.com/office/powerpoint/2010/main" val="3492115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ght Numbers Facts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2256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DF938D9-FDBF-4E2E-9864-B9A3DEB81AA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t>Asurion Internal Use Only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3F92F295-8332-4AF1-945C-EF34A8F3D0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B9A0D239-81E9-6647-BF62-476D7D0AE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9032" y="2645919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27B3718C-D3BC-0A4A-AB24-8E0527BD0BC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99034" y="2009049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EE3CF9FC-234B-B34A-AEED-DD9EA191F1E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03870" y="2009049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41D09DAB-1589-E34E-A510-555E37F2B14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564953" y="2645919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D0148C53-1352-2940-948D-748160CC579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64955" y="2009049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EBA9D11E-F868-C845-97E0-A54B829042E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169791" y="2009049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DAB052B3-0DA4-6A48-B41E-0E11CF17D0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355954" y="2643295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0FE77869-6ECC-DB4F-A3D0-18767E1BEBA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55956" y="2006425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2A7BAE2-7988-A84E-8577-17742D7D868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960792" y="2006425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1F637BFE-09A3-5441-9BA3-60AADA8A56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087822" y="2645919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FD3EC017-1E80-954A-BD2B-A8224CCBFE9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087824" y="2009049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D4AD2563-C182-174B-A94A-E5EA2C0B9741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692660" y="2009049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45AFD8F7-BBCE-974E-9799-7F97EABB126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99032" y="4578907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1049030-51FD-9B4C-9370-6D16E702C04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99034" y="3942037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10CB1AC8-5D47-6444-B4F6-244A3485DB9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03870" y="3942037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9E51DDB3-2697-2045-9C29-713A45B2EA1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564953" y="4578907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930A8F0C-8538-1A4C-9D42-4C76264FD4C2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564955" y="3942037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D281AB27-A235-4A44-B0D5-04A4A1D6662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169791" y="3942037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5B1D1191-6A82-3442-A392-EE6ED5417C2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355954" y="4576283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DA310A7C-745E-2C46-BF2C-CAE702280EDB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355956" y="3939413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A529FFF3-211A-4649-B80F-7080F4EF342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960792" y="3939413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89F1FE9B-2E3B-7046-88A0-6C5E57B9097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087822" y="4578907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B03A7643-78B5-2B4D-AD2C-2D9A2B1E603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087824" y="3942037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204CA410-10E1-0146-87AE-21BDA4ACECB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692660" y="3942037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</p:spTree>
    <p:extLst>
      <p:ext uri="{BB962C8B-B14F-4D97-AF65-F5344CB8AC3E}">
        <p14:creationId xmlns:p14="http://schemas.microsoft.com/office/powerpoint/2010/main" val="5252357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A3B2CE-A3B3-4189-8B73-7FEBFEEA5D8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35141" y="446743"/>
            <a:ext cx="3778097" cy="269035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/>
            </a:br>
            <a:r>
              <a:t>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542624" y="3436643"/>
            <a:ext cx="3773609" cy="67405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grpSp>
        <p:nvGrpSpPr>
          <p:cNvPr id="11" name="asurion logo">
            <a:extLst>
              <a:ext uri="{FF2B5EF4-FFF2-40B4-BE49-F238E27FC236}">
                <a16:creationId xmlns:a16="http://schemas.microsoft.com/office/drawing/2014/main" id="{E1C5BE53-885F-4140-A2D0-795FBB7C123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1" y="6390186"/>
            <a:ext cx="918000" cy="213052"/>
            <a:chOff x="316" y="3952"/>
            <a:chExt cx="586" cy="136"/>
          </a:xfrm>
          <a:solidFill>
            <a:schemeClr val="tx1"/>
          </a:solidFill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188848DB-B87D-B041-A849-970DFD53FD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DCA25C55-1346-AA4E-B99A-B92DB24C92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24A4990-4E45-BE4E-8F5C-8D885585F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A0CCF30B-EF01-9241-89DE-6194C640FB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69220C85-DAA7-BC4E-818D-2170A0678C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56C6BD5A-A22D-1140-84E9-1700B1F47F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E4641BA2-7F1D-F94D-A723-FAF1B048BF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0503051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EA01E96-DFCE-8A47-95E4-C17CB5B7677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C4D158-65DE-0842-BD47-216B25C04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063" y="440482"/>
            <a:ext cx="4636713" cy="2800259"/>
          </a:xfrm>
        </p:spPr>
        <p:txBody>
          <a:bodyPr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A02E6C-722C-7048-BD48-797E23EE61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surion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15BA52-1787-734E-AF70-5A45B094194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3ACAB3-CA36-4966-8A1D-076772D39D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0612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Header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35141" y="446743"/>
            <a:ext cx="3778097" cy="269035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 lang="en-US"/>
            </a:br>
            <a:r>
              <a:t>style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91600" y="6477425"/>
            <a:ext cx="1952422" cy="180000"/>
          </a:xfrm>
        </p:spPr>
        <p:txBody>
          <a:bodyPr/>
          <a:lstStyle/>
          <a:p>
            <a:r>
              <a:t>Asurion Internal Use Only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0A8629D5-1353-B143-9D56-3314F8FA1E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2624" y="3436642"/>
            <a:ext cx="3773609" cy="245271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1407493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35141" y="446743"/>
            <a:ext cx="3778097" cy="269035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 lang="en-US"/>
            </a:br>
            <a:r>
              <a:t>style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91600" y="6477425"/>
            <a:ext cx="1952422" cy="180000"/>
          </a:xfrm>
        </p:spPr>
        <p:txBody>
          <a:bodyPr/>
          <a:lstStyle/>
          <a:p>
            <a:r>
              <a:t>Asurion Internal Use Only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0A8629D5-1353-B143-9D56-3314F8FA1E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2624" y="3436642"/>
            <a:ext cx="3773609" cy="245271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065552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 5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35141" y="446743"/>
            <a:ext cx="3778097" cy="269035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/>
            </a:br>
            <a:r>
              <a:t>style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91600" y="6477425"/>
            <a:ext cx="1952422" cy="180000"/>
          </a:xfrm>
        </p:spPr>
        <p:txBody>
          <a:bodyPr/>
          <a:lstStyle/>
          <a:p>
            <a:r>
              <a:t>Asurion Internal Use Only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2825" y="6477425"/>
            <a:ext cx="519112" cy="180000"/>
          </a:xfrm>
        </p:spPr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468D2047-5D6F-7C41-984A-AC9DD6F37A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2624" y="3436642"/>
            <a:ext cx="3773609" cy="245271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4467975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0DFA8-C5FE-DB44-9BF9-1274EAD5637C}" type="slidenum">
              <a:rPr/>
              <a:t>‹#›</a:t>
            </a:fld>
            <a:endParaRPr/>
          </a:p>
        </p:txBody>
      </p:sp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sz="11500" b="0" i="0" spc="100">
                <a:solidFill>
                  <a:srgbClr val="FFFFFF"/>
                </a:solidFill>
                <a:latin typeface="+mj-lt"/>
              </a:rPr>
              <a:t>END SLID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0C9D3A-9A1A-C140-B0F7-9A8C63C4D4BD}"/>
              </a:ext>
            </a:extLst>
          </p:cNvPr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sz="1100" b="0" i="0" kern="1200">
                <a:solidFill>
                  <a:schemeClr val="bg1">
                    <a:lumMod val="85000"/>
                  </a:schemeClr>
                </a:solidFill>
                <a:effectLst/>
                <a:latin typeface="+mn-lt"/>
                <a:ea typeface="+mn-ea"/>
                <a:cs typeface="+mn-cs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95103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with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D744DE2C-A424-4827-A247-97648814534C}"/>
              </a:ext>
            </a:extLst>
          </p:cNvPr>
          <p:cNvSpPr/>
          <p:nvPr/>
        </p:nvSpPr>
        <p:spPr>
          <a:xfrm>
            <a:off x="6095747" y="0"/>
            <a:ext cx="609625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4F442-ECB4-4EA4-AE95-53D8E965A64C}"/>
              </a:ext>
            </a:extLst>
          </p:cNvPr>
          <p:cNvSpPr/>
          <p:nvPr/>
        </p:nvSpPr>
        <p:spPr>
          <a:xfrm>
            <a:off x="0" y="0"/>
            <a:ext cx="6096000" cy="55839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5939" y="1983105"/>
            <a:ext cx="5454650" cy="184023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6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Type text here</a:t>
            </a:r>
          </a:p>
        </p:txBody>
      </p:sp>
      <p:grpSp>
        <p:nvGrpSpPr>
          <p:cNvPr id="15" name="asurion logo">
            <a:extLst>
              <a:ext uri="{FF2B5EF4-FFF2-40B4-BE49-F238E27FC236}">
                <a16:creationId xmlns:a16="http://schemas.microsoft.com/office/drawing/2014/main" id="{742C3EE8-5E66-4064-AD77-262ED2AF10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0" y="5995713"/>
            <a:ext cx="1527969" cy="354615"/>
            <a:chOff x="316" y="3952"/>
            <a:chExt cx="586" cy="136"/>
          </a:xfrm>
          <a:solidFill>
            <a:schemeClr val="tx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9EF3FF97-F9E4-4229-93B3-D336E320D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9D763D80-7D31-4C23-92B5-7AA5C7093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D0697A47-C99B-4053-ADFB-D711F85AE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B1BCB078-E3E2-4D42-8199-4874325579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961A3D60-6C30-4644-91DF-BEEC5109B1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F348E325-407C-441C-B197-E60FC5A68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9F368039-5BAA-412B-A0CF-A7E83F9606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13DAD560-03AB-9E4E-8F93-C72CEA1F86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3791" y="1048609"/>
            <a:ext cx="4957148" cy="5015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32140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5939" y="2245995"/>
            <a:ext cx="5454650" cy="184023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6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Type text here</a:t>
            </a:r>
          </a:p>
        </p:txBody>
      </p:sp>
      <p:grpSp>
        <p:nvGrpSpPr>
          <p:cNvPr id="15" name="asurion logo">
            <a:extLst>
              <a:ext uri="{FF2B5EF4-FFF2-40B4-BE49-F238E27FC236}">
                <a16:creationId xmlns:a16="http://schemas.microsoft.com/office/drawing/2014/main" id="{742C3EE8-5E66-4064-AD77-262ED2AF10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0" y="5995713"/>
            <a:ext cx="1527969" cy="354615"/>
            <a:chOff x="316" y="3952"/>
            <a:chExt cx="586" cy="136"/>
          </a:xfrm>
          <a:solidFill>
            <a:schemeClr val="tx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9EF3FF97-F9E4-4229-93B3-D336E320D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9D763D80-7D31-4C23-92B5-7AA5C7093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D0697A47-C99B-4053-ADFB-D711F85AE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B1BCB078-E3E2-4D42-8199-4874325579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961A3D60-6C30-4644-91DF-BEEC5109B1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F348E325-407C-441C-B197-E60FC5A68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9F368039-5BAA-412B-A0CF-A7E83F9606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6286365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of Layou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0DFA8-C5FE-DB44-9BF9-1274EAD5637C}" type="slidenum">
              <a:rPr/>
              <a:t>‹#›</a:t>
            </a:fld>
            <a:endParaRPr/>
          </a:p>
        </p:txBody>
      </p:sp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sz="11500" b="0" i="0" spc="100">
                <a:solidFill>
                  <a:srgbClr val="FFFFFF"/>
                </a:solidFill>
                <a:latin typeface="+mj-lt"/>
              </a:rPr>
              <a:t>DO NOT USE </a:t>
            </a:r>
            <a:br>
              <a:rPr sz="11500" b="0" i="0" spc="100">
                <a:solidFill>
                  <a:srgbClr val="FFFFFF"/>
                </a:solidFill>
                <a:latin typeface="+mj-lt"/>
              </a:rPr>
            </a:br>
            <a:r>
              <a:rPr sz="11500" b="0" i="0" spc="100">
                <a:solidFill>
                  <a:srgbClr val="FFFFFF"/>
                </a:solidFill>
                <a:latin typeface="+mj-lt"/>
              </a:rPr>
              <a:t>ANY</a:t>
            </a:r>
            <a:r>
              <a:rPr sz="11500" b="0" i="0" spc="100" baseline="0">
                <a:solidFill>
                  <a:srgbClr val="FFFFFF"/>
                </a:solidFill>
                <a:latin typeface="+mj-lt"/>
              </a:rPr>
              <a:t> LAYOUTS </a:t>
            </a:r>
            <a:br>
              <a:rPr sz="11500" b="0" i="0" spc="100" baseline="0">
                <a:solidFill>
                  <a:srgbClr val="FFFFFF"/>
                </a:solidFill>
                <a:latin typeface="+mj-lt"/>
              </a:rPr>
            </a:br>
            <a:r>
              <a:rPr sz="11500" b="0" i="0" spc="100" baseline="0">
                <a:solidFill>
                  <a:srgbClr val="FFFFFF"/>
                </a:solidFill>
                <a:latin typeface="+mj-lt"/>
              </a:rPr>
              <a:t>PAST THIS POINT</a:t>
            </a:r>
            <a:endParaRPr sz="11500" b="0" i="0" spc="10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0C9D3A-9A1A-C140-B0F7-9A8C63C4D4BD}"/>
              </a:ext>
            </a:extLst>
          </p:cNvPr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sz="1100" b="0" i="0" kern="1200">
                <a:solidFill>
                  <a:schemeClr val="bg1">
                    <a:lumMod val="85000"/>
                  </a:schemeClr>
                </a:solidFill>
                <a:effectLst/>
                <a:latin typeface="+mn-lt"/>
                <a:ea typeface="+mn-ea"/>
                <a:cs typeface="+mn-cs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32398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Agenda, Section Layou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0DFA8-C5FE-DB44-9BF9-1274EAD5637C}" type="slidenum">
              <a:rPr/>
              <a:t>‹#›</a:t>
            </a:fld>
            <a:endParaRPr/>
          </a:p>
        </p:txBody>
      </p:sp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sz="11500" b="0" i="0" spc="100">
                <a:solidFill>
                  <a:srgbClr val="FFFFFF"/>
                </a:solidFill>
                <a:latin typeface="+mj-lt"/>
              </a:rPr>
              <a:t>TITLE, AGENDA, &amp; SECTION LAYOU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0C9D3A-9A1A-C140-B0F7-9A8C63C4D4BD}"/>
              </a:ext>
            </a:extLst>
          </p:cNvPr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sz="1100" b="0" i="0" kern="1200">
                <a:solidFill>
                  <a:schemeClr val="bg1">
                    <a:lumMod val="85000"/>
                  </a:schemeClr>
                </a:solidFill>
                <a:effectLst/>
                <a:latin typeface="+mn-lt"/>
                <a:ea typeface="+mn-ea"/>
                <a:cs typeface="+mn-cs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84808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3F9B186-B379-43C9-BEFE-1C3220F80B34}"/>
              </a:ext>
            </a:extLst>
          </p:cNvPr>
          <p:cNvSpPr/>
          <p:nvPr/>
        </p:nvSpPr>
        <p:spPr>
          <a:xfrm>
            <a:off x="0" y="5598000"/>
            <a:ext cx="6096000" cy="126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4F442-ECB4-4EA4-AE95-53D8E965A64C}"/>
              </a:ext>
            </a:extLst>
          </p:cNvPr>
          <p:cNvSpPr/>
          <p:nvPr/>
        </p:nvSpPr>
        <p:spPr>
          <a:xfrm>
            <a:off x="6096000" y="5598000"/>
            <a:ext cx="6096000" cy="126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9" y="140677"/>
            <a:ext cx="5454650" cy="2453661"/>
          </a:xfrm>
        </p:spPr>
        <p:txBody>
          <a:bodyPr anchor="b"/>
          <a:lstStyle>
            <a:lvl1pPr algn="l">
              <a:lnSpc>
                <a:spcPct val="90000"/>
              </a:lnSpc>
              <a:defRPr sz="5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3022209"/>
            <a:ext cx="4086542" cy="2010506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975679-7E40-4963-9C83-A613C95AA4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99238" y="6012655"/>
            <a:ext cx="3435350" cy="531812"/>
          </a:xfrm>
        </p:spPr>
        <p:txBody>
          <a:bodyPr anchor="ctr" anchorCtr="0"/>
          <a:lstStyle>
            <a:lvl1pPr>
              <a:lnSpc>
                <a:spcPct val="100000"/>
              </a:lnSpc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Presenter Name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7D42A3C6-0F61-41F7-B4CB-28E14C8D71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60000" y="6012655"/>
            <a:ext cx="1534575" cy="531812"/>
          </a:xfrm>
        </p:spPr>
        <p:txBody>
          <a:bodyPr anchor="ctr" anchorCtr="0"/>
          <a:lstStyle>
            <a:lvl1pPr algn="r">
              <a:lnSpc>
                <a:spcPct val="100000"/>
              </a:lnSpc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January 01, 2020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09F8B23A-4BF5-634C-ACED-554ED21F3B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556" y="5995203"/>
            <a:ext cx="1502569" cy="544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40180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5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A3B2CE-A3B3-4189-8B73-7FEBFEEA5D8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35141" y="446743"/>
            <a:ext cx="3778097" cy="269035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/>
            </a:br>
            <a:r>
              <a:t>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542624" y="3436643"/>
            <a:ext cx="3773609" cy="67405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grpSp>
        <p:nvGrpSpPr>
          <p:cNvPr id="13" name="asurion logo">
            <a:extLst>
              <a:ext uri="{FF2B5EF4-FFF2-40B4-BE49-F238E27FC236}">
                <a16:creationId xmlns:a16="http://schemas.microsoft.com/office/drawing/2014/main" id="{BE011928-E47D-2041-8C67-C22638984F3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1" y="6390186"/>
            <a:ext cx="918000" cy="213052"/>
            <a:chOff x="316" y="3952"/>
            <a:chExt cx="586" cy="136"/>
          </a:xfrm>
          <a:solidFill>
            <a:schemeClr val="tx1"/>
          </a:solidFill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4CB7B69E-B273-0D48-BFDA-34E192F321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95280FB1-5A13-EF43-8314-29BF259ABB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481AAD2C-29B4-EC49-9316-7FAF697253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27323948-8731-5143-A257-D33E8C0C08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D78202CB-9C9D-B64F-B9BB-DDB5A81A7D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F29FBD53-E2A2-3247-85DE-C8D45F947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98F56C5E-7A69-EC45-BF50-0515ECB63A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3681688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3F9B186-B379-43C9-BEFE-1C3220F80B34}"/>
              </a:ext>
            </a:extLst>
          </p:cNvPr>
          <p:cNvSpPr/>
          <p:nvPr/>
        </p:nvSpPr>
        <p:spPr>
          <a:xfrm>
            <a:off x="0" y="5598000"/>
            <a:ext cx="6096000" cy="126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9" y="140677"/>
            <a:ext cx="5454650" cy="2453661"/>
          </a:xfrm>
        </p:spPr>
        <p:txBody>
          <a:bodyPr anchor="b"/>
          <a:lstStyle>
            <a:lvl1pPr algn="l">
              <a:lnSpc>
                <a:spcPct val="90000"/>
              </a:lnSpc>
              <a:defRPr sz="5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3022209"/>
            <a:ext cx="4086542" cy="2010506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975679-7E40-4963-9C83-A613C95AA4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99238" y="6012655"/>
            <a:ext cx="3435350" cy="531812"/>
          </a:xfrm>
        </p:spPr>
        <p:txBody>
          <a:bodyPr anchor="ctr" anchorCtr="0"/>
          <a:lstStyle>
            <a:lvl1pPr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Presenter Name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7D42A3C6-0F61-41F7-B4CB-28E14C8D71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60000" y="6012655"/>
            <a:ext cx="1534575" cy="531812"/>
          </a:xfrm>
        </p:spPr>
        <p:txBody>
          <a:bodyPr anchor="ctr" anchorCtr="0"/>
          <a:lstStyle>
            <a:lvl1pPr algn="r"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January 01, 2020</a:t>
            </a:r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885787FB-3228-2D4E-9952-0595A3D50DC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95" y="0"/>
            <a:ext cx="6099048" cy="6858000"/>
          </a:xfrm>
          <a:noFill/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6379E55E-D17E-A745-8265-A0F8E5B40C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556" y="5995203"/>
            <a:ext cx="1502569" cy="544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9960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D744DE2C-A424-4827-A247-97648814534C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4F442-ECB4-4EA4-AE95-53D8E965A64C}"/>
              </a:ext>
            </a:extLst>
          </p:cNvPr>
          <p:cNvSpPr/>
          <p:nvPr/>
        </p:nvSpPr>
        <p:spPr>
          <a:xfrm>
            <a:off x="6096000" y="5598000"/>
            <a:ext cx="6096000" cy="126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9" y="140677"/>
            <a:ext cx="5454650" cy="2453661"/>
          </a:xfrm>
        </p:spPr>
        <p:txBody>
          <a:bodyPr anchor="b"/>
          <a:lstStyle>
            <a:lvl1pPr algn="l">
              <a:lnSpc>
                <a:spcPct val="90000"/>
              </a:lnSpc>
              <a:defRPr sz="5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3022209"/>
            <a:ext cx="4086542" cy="2010506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975679-7E40-4963-9C83-A613C95AA4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99238" y="6012655"/>
            <a:ext cx="3435350" cy="531812"/>
          </a:xfrm>
        </p:spPr>
        <p:txBody>
          <a:bodyPr anchor="ctr" anchorCtr="0"/>
          <a:lstStyle>
            <a:lvl1pPr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Presenter Name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7D42A3C6-0F61-41F7-B4CB-28E14C8D71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60000" y="6012655"/>
            <a:ext cx="1534575" cy="531812"/>
          </a:xfrm>
        </p:spPr>
        <p:txBody>
          <a:bodyPr anchor="ctr" anchorCtr="0"/>
          <a:lstStyle>
            <a:lvl1pPr algn="r"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January 01, 2020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7C6C5E2C-59B5-ED4C-A417-7E7211FA5A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556" y="5995203"/>
            <a:ext cx="1502569" cy="544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64492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9FEFC07C-C691-5447-AEDC-FF4F067CF35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524" y="0"/>
            <a:ext cx="12188952" cy="5598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F9B186-B379-43C9-BEFE-1C3220F80B34}"/>
              </a:ext>
            </a:extLst>
          </p:cNvPr>
          <p:cNvSpPr/>
          <p:nvPr/>
        </p:nvSpPr>
        <p:spPr>
          <a:xfrm>
            <a:off x="0" y="5598000"/>
            <a:ext cx="6096000" cy="126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4F442-ECB4-4EA4-AE95-53D8E965A64C}"/>
              </a:ext>
            </a:extLst>
          </p:cNvPr>
          <p:cNvSpPr/>
          <p:nvPr/>
        </p:nvSpPr>
        <p:spPr>
          <a:xfrm>
            <a:off x="6096000" y="5598000"/>
            <a:ext cx="6096000" cy="12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9" y="140677"/>
            <a:ext cx="5454650" cy="2453661"/>
          </a:xfrm>
        </p:spPr>
        <p:txBody>
          <a:bodyPr anchor="b"/>
          <a:lstStyle>
            <a:lvl1pPr algn="l">
              <a:lnSpc>
                <a:spcPct val="90000"/>
              </a:lnSpc>
              <a:defRPr sz="5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3022209"/>
            <a:ext cx="4086542" cy="2010506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975679-7E40-4963-9C83-A613C95AA4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99238" y="6012655"/>
            <a:ext cx="3435350" cy="531812"/>
          </a:xfrm>
        </p:spPr>
        <p:txBody>
          <a:bodyPr anchor="ctr" anchorCtr="0"/>
          <a:lstStyle>
            <a:lvl1pPr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Presenter Name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7D42A3C6-0F61-41F7-B4CB-28E14C8D71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60000" y="6012655"/>
            <a:ext cx="1534575" cy="531812"/>
          </a:xfrm>
        </p:spPr>
        <p:txBody>
          <a:bodyPr anchor="ctr" anchorCtr="0"/>
          <a:lstStyle>
            <a:lvl1pPr algn="r"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January 01, 2020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66D6A153-9212-CF4C-957D-E2847DFD00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556" y="5995203"/>
            <a:ext cx="1502569" cy="544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8258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595937" cy="1080135"/>
          </a:xfrm>
        </p:spPr>
        <p:txBody>
          <a:bodyPr/>
          <a:lstStyle>
            <a:lvl1pPr>
              <a:defRPr sz="32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29268" y="474663"/>
            <a:ext cx="4362670" cy="5378450"/>
          </a:xfrm>
        </p:spPr>
        <p:txBody>
          <a:bodyPr/>
          <a:lstStyle>
            <a:lvl1pPr marL="0" indent="0"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4305300" algn="r"/>
              </a:tabLst>
              <a:defRPr sz="2000" b="0"/>
            </a:lvl1pPr>
            <a:lvl2pPr marL="0" indent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4305300" algn="r"/>
              </a:tabLst>
              <a:defRPr sz="1800" b="0"/>
            </a:lvl2pPr>
            <a:lvl3pPr marL="0" indent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tabLst>
                <a:tab pos="4305300" algn="r"/>
              </a:tabLst>
              <a:defRPr sz="1600" b="0"/>
            </a:lvl3pPr>
            <a:lvl4pPr marL="0" indent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tabLst>
                <a:tab pos="4305300" algn="r"/>
              </a:tabLst>
              <a:defRPr sz="1400" b="0"/>
            </a:lvl4pPr>
            <a:lvl5pPr marL="0" indent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tabLst>
                <a:tab pos="4305300" algn="r"/>
              </a:tabLst>
              <a:defRPr sz="12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8B7AA72-988A-4DB7-84B4-863A0BC657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1689F5B-F6CF-4099-BCDE-974FCFCCF9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2862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1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595937" cy="1080135"/>
          </a:xfrm>
        </p:spPr>
        <p:txBody>
          <a:bodyPr/>
          <a:lstStyle>
            <a:lvl1pPr>
              <a:defRPr sz="32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29268" y="474663"/>
            <a:ext cx="4362670" cy="5378450"/>
          </a:xfrm>
        </p:spPr>
        <p:txBody>
          <a:bodyPr/>
          <a:lstStyle>
            <a:lvl1pPr marL="0" indent="0"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4305300" algn="r"/>
              </a:tabLst>
              <a:defRPr sz="2000" b="0"/>
            </a:lvl1pPr>
            <a:lvl2pPr marL="0" indent="0"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4305300" algn="r"/>
              </a:tabLst>
              <a:defRPr sz="1800" b="0"/>
            </a:lvl2pPr>
            <a:lvl3pPr marL="0" indent="0">
              <a:spcBef>
                <a:spcPts val="900"/>
              </a:spcBef>
              <a:spcAft>
                <a:spcPts val="0"/>
              </a:spcAft>
              <a:buNone/>
              <a:tabLst>
                <a:tab pos="4305300" algn="r"/>
              </a:tabLst>
              <a:defRPr sz="1600" b="0"/>
            </a:lvl3pPr>
            <a:lvl4pPr marL="0" indent="0">
              <a:spcBef>
                <a:spcPts val="900"/>
              </a:spcBef>
              <a:spcAft>
                <a:spcPts val="0"/>
              </a:spcAft>
              <a:buNone/>
              <a:tabLst>
                <a:tab pos="4305300" algn="r"/>
              </a:tabLst>
              <a:defRPr sz="1400" b="0"/>
            </a:lvl4pPr>
            <a:lvl5pPr marL="0" indent="0">
              <a:spcBef>
                <a:spcPts val="900"/>
              </a:spcBef>
              <a:spcAft>
                <a:spcPts val="0"/>
              </a:spcAft>
              <a:buNone/>
              <a:tabLst>
                <a:tab pos="4305300" algn="r"/>
              </a:tabLst>
              <a:defRPr sz="12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09BD985-671E-4103-929F-7E66D95D9A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78CF779-080B-4B64-A94C-CC1E40B575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DB5257E-50E9-F44B-8D46-E4B16F7EEE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61" y="6390186"/>
            <a:ext cx="918000" cy="332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4362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007754"/>
            <a:ext cx="11191875" cy="3930114"/>
          </a:xfrm>
        </p:spPr>
        <p:txBody>
          <a:bodyPr/>
          <a:lstStyle>
            <a:lvl1pPr>
              <a:spcBef>
                <a:spcPts val="900"/>
              </a:spcBef>
              <a:defRPr sz="2400"/>
            </a:lvl1pPr>
            <a:lvl2pPr>
              <a:spcBef>
                <a:spcPts val="900"/>
              </a:spcBef>
              <a:defRPr sz="24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231F20"/>
                </a:solidFill>
              </a:rPr>
              <a:t>Asurion_Confidential</a:t>
            </a:r>
            <a:endParaRPr>
              <a:solidFill>
                <a:srgbClr val="231F2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>
                <a:solidFill>
                  <a:srgbClr val="231F20"/>
                </a:solidFill>
              </a:rPr>
              <a:pPr/>
              <a:t>‹#›</a:t>
            </a:fld>
            <a:endParaRPr>
              <a:solidFill>
                <a:srgbClr val="231F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0169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2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007754"/>
            <a:ext cx="11191875" cy="3930114"/>
          </a:xfrm>
        </p:spPr>
        <p:txBody>
          <a:bodyPr/>
          <a:lstStyle>
            <a:lvl1pPr>
              <a:spcBef>
                <a:spcPts val="900"/>
              </a:spcBef>
              <a:defRPr sz="2400">
                <a:solidFill>
                  <a:schemeClr val="tx1"/>
                </a:solidFill>
              </a:defRPr>
            </a:lvl1pPr>
            <a:lvl2pPr>
              <a:spcBef>
                <a:spcPts val="900"/>
              </a:spcBef>
              <a:defRPr sz="24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surion_Confidentia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D074A43-BF62-A948-AEE5-8441D5FB3B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61" y="6390186"/>
            <a:ext cx="918000" cy="332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0362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9747BD37-3BEA-40D2-8343-2CB995B91822}"/>
              </a:ext>
            </a:extLst>
          </p:cNvPr>
          <p:cNvSpPr/>
          <p:nvPr/>
        </p:nvSpPr>
        <p:spPr>
          <a:xfrm>
            <a:off x="0" y="0"/>
            <a:ext cx="2286000" cy="17811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4C88EA-B1EA-4FA0-8279-C122B539260B}"/>
              </a:ext>
            </a:extLst>
          </p:cNvPr>
          <p:cNvSpPr/>
          <p:nvPr/>
        </p:nvSpPr>
        <p:spPr>
          <a:xfrm>
            <a:off x="0" y="1781175"/>
            <a:ext cx="2286000" cy="5076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781574" y="446744"/>
            <a:ext cx="6298925" cy="2147594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/>
            </a:br>
            <a:r>
              <a:t>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2789057" y="2762591"/>
            <a:ext cx="6291442" cy="67405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D17E435-7649-47BA-B3A0-AA4F57BBB1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2879" y="273607"/>
            <a:ext cx="1944810" cy="1428584"/>
          </a:xfrm>
        </p:spPr>
        <p:txBody>
          <a:bodyPr/>
          <a:lstStyle>
            <a:lvl1pPr algn="ctr">
              <a:spcBef>
                <a:spcPts val="0"/>
              </a:spcBef>
              <a:defRPr sz="8000" b="0">
                <a:solidFill>
                  <a:schemeClr val="bg1"/>
                </a:solidFill>
              </a:defRPr>
            </a:lvl1pPr>
          </a:lstStyle>
          <a:p>
            <a:pPr lvl="0"/>
            <a:r>
              <a:t>00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98C5A354-4D98-B341-AE49-E519969A23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61" y="6390186"/>
            <a:ext cx="918000" cy="332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6243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9747BD37-3BEA-40D2-8343-2CB995B91822}"/>
              </a:ext>
            </a:extLst>
          </p:cNvPr>
          <p:cNvSpPr/>
          <p:nvPr/>
        </p:nvSpPr>
        <p:spPr>
          <a:xfrm>
            <a:off x="0" y="0"/>
            <a:ext cx="2286000" cy="17811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4C88EA-B1EA-4FA0-8279-C122B539260B}"/>
              </a:ext>
            </a:extLst>
          </p:cNvPr>
          <p:cNvSpPr/>
          <p:nvPr/>
        </p:nvSpPr>
        <p:spPr>
          <a:xfrm>
            <a:off x="0" y="1781175"/>
            <a:ext cx="2286000" cy="50768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781574" y="446744"/>
            <a:ext cx="6298925" cy="2147594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/>
            </a:br>
            <a:r>
              <a:t>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2789057" y="2762591"/>
            <a:ext cx="6291442" cy="67405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D17E435-7649-47BA-B3A0-AA4F57BBB1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2879" y="273607"/>
            <a:ext cx="1944810" cy="1428584"/>
          </a:xfrm>
        </p:spPr>
        <p:txBody>
          <a:bodyPr/>
          <a:lstStyle>
            <a:lvl1pPr algn="ctr">
              <a:spcBef>
                <a:spcPts val="0"/>
              </a:spcBef>
              <a:defRPr sz="8000" b="0">
                <a:solidFill>
                  <a:schemeClr val="bg1"/>
                </a:solidFill>
              </a:defRPr>
            </a:lvl1pPr>
          </a:lstStyle>
          <a:p>
            <a:pPr lvl="0"/>
            <a:r>
              <a:t>00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444D2D20-394C-6B44-B8AE-286D031C57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61" y="6390186"/>
            <a:ext cx="918000" cy="332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3253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9747BD37-3BEA-40D2-8343-2CB995B91822}"/>
              </a:ext>
            </a:extLst>
          </p:cNvPr>
          <p:cNvSpPr/>
          <p:nvPr/>
        </p:nvSpPr>
        <p:spPr>
          <a:xfrm>
            <a:off x="0" y="0"/>
            <a:ext cx="2286000" cy="17811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4C88EA-B1EA-4FA0-8279-C122B539260B}"/>
              </a:ext>
            </a:extLst>
          </p:cNvPr>
          <p:cNvSpPr/>
          <p:nvPr/>
        </p:nvSpPr>
        <p:spPr>
          <a:xfrm>
            <a:off x="0" y="1781175"/>
            <a:ext cx="2286000" cy="5076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781574" y="446744"/>
            <a:ext cx="6298925" cy="2147594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/>
            </a:br>
            <a:r>
              <a:t>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2789057" y="2762591"/>
            <a:ext cx="6291442" cy="67405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D17E435-7649-47BA-B3A0-AA4F57BBB1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2879" y="273607"/>
            <a:ext cx="1944810" cy="1428584"/>
          </a:xfrm>
        </p:spPr>
        <p:txBody>
          <a:bodyPr/>
          <a:lstStyle>
            <a:lvl1pPr algn="ctr">
              <a:spcBef>
                <a:spcPts val="0"/>
              </a:spcBef>
              <a:defRPr sz="8000" b="0">
                <a:solidFill>
                  <a:schemeClr val="bg1"/>
                </a:solidFill>
              </a:defRPr>
            </a:lvl1pPr>
          </a:lstStyle>
          <a:p>
            <a:pPr lvl="0"/>
            <a:r>
              <a:t>00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7C2DB041-2C3E-C744-AE2F-FC9C09F4D7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61" y="6390186"/>
            <a:ext cx="918000" cy="332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6050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ayou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sz="11500" b="0" i="0" spc="100">
                <a:solidFill>
                  <a:srgbClr val="FFFFFF"/>
                </a:solidFill>
                <a:latin typeface="+mj-lt"/>
              </a:rPr>
              <a:t>CONTENT</a:t>
            </a:r>
            <a:br>
              <a:rPr sz="11500" b="0" i="0" spc="100">
                <a:solidFill>
                  <a:srgbClr val="FFFFFF"/>
                </a:solidFill>
                <a:latin typeface="+mj-lt"/>
              </a:rPr>
            </a:br>
            <a:r>
              <a:rPr sz="11500" b="0" i="0" spc="100">
                <a:solidFill>
                  <a:srgbClr val="FFFFFF"/>
                </a:solidFill>
                <a:latin typeface="+mj-lt"/>
              </a:rPr>
              <a:t>LAYOU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0C9D3A-9A1A-C140-B0F7-9A8C63C4D4BD}"/>
              </a:ext>
            </a:extLst>
          </p:cNvPr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sz="1100" b="0" i="0" kern="1200">
                <a:solidFill>
                  <a:schemeClr val="bg1">
                    <a:lumMod val="85000"/>
                  </a:schemeClr>
                </a:solidFill>
                <a:effectLst/>
                <a:latin typeface="+mn-lt"/>
                <a:ea typeface="+mn-ea"/>
                <a:cs typeface="+mn-cs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95788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A3B2CE-A3B3-4189-8B73-7FEBFEEA5D8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35141" y="446743"/>
            <a:ext cx="3778097" cy="269035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/>
            </a:br>
            <a:r>
              <a:t>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542624" y="3436643"/>
            <a:ext cx="3773609" cy="67405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866AE719-3A29-7741-AA71-3813706A21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61" y="6390186"/>
            <a:ext cx="918000" cy="332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4559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5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A3B2CE-A3B3-4189-8B73-7FEBFEEA5D8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35141" y="446743"/>
            <a:ext cx="3778097" cy="269035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/>
            </a:br>
            <a:r>
              <a:t>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542624" y="3436643"/>
            <a:ext cx="3773609" cy="67405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E1F2640-82BE-CC4D-BEA7-8D04B7FB11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61" y="6390186"/>
            <a:ext cx="918000" cy="332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3688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ayou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0DFA8-C5FE-DB44-9BF9-1274EAD5637C}" type="slidenum">
              <a:rPr/>
              <a:t>‹#›</a:t>
            </a:fld>
            <a:endParaRPr/>
          </a:p>
        </p:txBody>
      </p:sp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sz="11500" b="0" i="0" spc="100">
                <a:solidFill>
                  <a:srgbClr val="FFFFFF"/>
                </a:solidFill>
                <a:latin typeface="+mj-lt"/>
              </a:rPr>
              <a:t>CONTENT</a:t>
            </a:r>
            <a:br>
              <a:rPr sz="11500" b="0" i="0" spc="100">
                <a:solidFill>
                  <a:srgbClr val="FFFFFF"/>
                </a:solidFill>
                <a:latin typeface="+mj-lt"/>
              </a:rPr>
            </a:br>
            <a:r>
              <a:rPr sz="11500" b="0" i="0" spc="100">
                <a:solidFill>
                  <a:srgbClr val="FFFFFF"/>
                </a:solidFill>
                <a:latin typeface="+mj-lt"/>
              </a:rPr>
              <a:t>LAYOU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0C9D3A-9A1A-C140-B0F7-9A8C63C4D4BD}"/>
              </a:ext>
            </a:extLst>
          </p:cNvPr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sz="1100" b="0" i="0" kern="1200">
                <a:solidFill>
                  <a:schemeClr val="bg1">
                    <a:lumMod val="85000"/>
                  </a:schemeClr>
                </a:solidFill>
                <a:effectLst/>
                <a:latin typeface="+mn-lt"/>
                <a:ea typeface="+mn-ea"/>
                <a:cs typeface="+mn-cs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53571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17775"/>
            <a:ext cx="11191875" cy="3373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B1C1BA4-C831-4BAE-8902-D8B44C11CD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1BD78D5-7CB0-4BF0-A1E0-CDD8450211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32742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0951"/>
            <a:ext cx="11191875" cy="33702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231F20"/>
                </a:solidFill>
              </a:rPr>
              <a:t>Asurion_Confidential</a:t>
            </a:r>
            <a:endParaRPr>
              <a:solidFill>
                <a:srgbClr val="231F2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>
                <a:solidFill>
                  <a:srgbClr val="231F20"/>
                </a:solidFill>
              </a:rPr>
              <a:pPr/>
              <a:t>‹#›</a:t>
            </a:fld>
            <a:endParaRPr>
              <a:solidFill>
                <a:srgbClr val="231F20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639103-1054-48CB-9C4A-BC221A9D489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0063" y="1481655"/>
            <a:ext cx="11191874" cy="78676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375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1698625"/>
            <a:ext cx="11191875" cy="4192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231F20"/>
                </a:solidFill>
              </a:rPr>
              <a:t>Asurion_Confidential</a:t>
            </a:r>
            <a:endParaRPr>
              <a:solidFill>
                <a:srgbClr val="231F2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>
                <a:solidFill>
                  <a:srgbClr val="231F20"/>
                </a:solidFill>
              </a:rPr>
              <a:pPr/>
              <a:t>‹#›</a:t>
            </a:fld>
            <a:endParaRPr>
              <a:solidFill>
                <a:srgbClr val="231F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4696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0000"/>
            <a:ext cx="55959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231F20"/>
                </a:solidFill>
              </a:rPr>
              <a:t>Asurion_Confidential</a:t>
            </a:r>
            <a:endParaRPr>
              <a:solidFill>
                <a:srgbClr val="231F2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>
                <a:solidFill>
                  <a:srgbClr val="231F20"/>
                </a:solidFill>
              </a:rPr>
              <a:pPr/>
              <a:t>‹#›</a:t>
            </a:fld>
            <a:endParaRPr>
              <a:solidFill>
                <a:srgbClr val="231F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1604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00063" y="2517775"/>
            <a:ext cx="5324400" cy="3373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6367537" y="2517775"/>
            <a:ext cx="5324400" cy="3373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5FB212-C07C-47E4-B111-95662FEA043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F383D8-C510-4C92-8A54-DA05FA7AFF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30695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0000"/>
            <a:ext cx="35893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1157396-66F3-4131-832E-DED0E7ABE71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01332" y="2520000"/>
            <a:ext cx="35893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0226DC9-EE88-4C38-BFC7-8CF1082EDBD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02601" y="2520000"/>
            <a:ext cx="35893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DF938D9-FDBF-4E2E-9864-B9A3DEB81AA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3F92F295-8332-4AF1-945C-EF34A8F3D0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91299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0000"/>
            <a:ext cx="25860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1157396-66F3-4131-832E-DED0E7ABE71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93269" y="2520000"/>
            <a:ext cx="25860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0226DC9-EE88-4C38-BFC7-8CF1082EDBD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86475" y="2520000"/>
            <a:ext cx="25860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DF938D9-FDBF-4E2E-9864-B9A3DEB81AA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3F92F295-8332-4AF1-945C-EF34A8F3D0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151B05AA-B42D-4FA0-948C-88C9B0D745D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879681" y="2520000"/>
            <a:ext cx="25860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993579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17775"/>
            <a:ext cx="11191875" cy="3373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B1C1BA4-C831-4BAE-8902-D8B44C11CD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1BD78D5-7CB0-4BF0-A1E0-CDD8450211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070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One Content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0000"/>
            <a:ext cx="55959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5DBBB8B-648D-4197-97B9-AE71487D25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5924E6F-6328-463D-B419-65509C9FE4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C16B84A-F557-C94E-8C7D-3EE7ED534CA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61" y="6390186"/>
            <a:ext cx="918000" cy="332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0594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ntent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00063" y="2517775"/>
            <a:ext cx="5324400" cy="3373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6367537" y="2517775"/>
            <a:ext cx="5324400" cy="3373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5FB212-C07C-47E4-B111-95662FEA043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F383D8-C510-4C92-8A54-DA05FA7AFF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5D8C7AC-8EBE-5147-B68A-864BD91119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61" y="6390186"/>
            <a:ext cx="918000" cy="332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1877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hree Content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0000"/>
            <a:ext cx="35893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1157396-66F3-4131-832E-DED0E7ABE71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01332" y="2520000"/>
            <a:ext cx="35893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0226DC9-EE88-4C38-BFC7-8CF1082EDBD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02601" y="2520000"/>
            <a:ext cx="35893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2DF5BAB-DC7D-4C2E-822E-C0828F8BD7F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C5A2B2A-4207-4088-8306-70D21909D81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A90C7FC-1A29-0E41-8305-47FFC1459E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61" y="6390186"/>
            <a:ext cx="918000" cy="332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9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Four Content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0000"/>
            <a:ext cx="25860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1157396-66F3-4131-832E-DED0E7ABE71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93269" y="2520000"/>
            <a:ext cx="25860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0226DC9-EE88-4C38-BFC7-8CF1082EDBD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86475" y="2520000"/>
            <a:ext cx="25860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DF938D9-FDBF-4E2E-9864-B9A3DEB81AA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3F92F295-8332-4AF1-945C-EF34A8F3D0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151B05AA-B42D-4FA0-948C-88C9B0D745D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879681" y="2520000"/>
            <a:ext cx="25860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6C3DB80-1C07-0E4C-BAA0-7E318B5A3E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61" y="6390186"/>
            <a:ext cx="918000" cy="332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2189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, Conten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0A5685-ADC9-4197-AAEB-665323328B34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5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3689"/>
            <a:ext cx="5056675" cy="3329423"/>
          </a:xfrm>
        </p:spPr>
        <p:txBody>
          <a:bodyPr spcCol="540000"/>
          <a:lstStyle>
            <a:lvl2pPr>
              <a:spcBef>
                <a:spcPts val="300"/>
              </a:spcBef>
              <a:defRPr/>
            </a:lvl2pPr>
            <a:lvl3pPr>
              <a:spcBef>
                <a:spcPts val="6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231F20"/>
                </a:solidFill>
              </a:rPr>
              <a:t>Asurion_Confidential</a:t>
            </a:r>
            <a:endParaRPr>
              <a:solidFill>
                <a:srgbClr val="231F2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>
                <a:solidFill>
                  <a:srgbClr val="231F20"/>
                </a:solidFill>
              </a:rPr>
              <a:pPr/>
              <a:t>‹#›</a:t>
            </a:fld>
            <a:endParaRPr>
              <a:solidFill>
                <a:srgbClr val="231F20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639103-1054-48CB-9C4A-BC221A9D489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0063" y="1481655"/>
            <a:ext cx="5056675" cy="78676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275A3245-01FF-42DD-A6D1-85D456773FFD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499225" y="1041400"/>
            <a:ext cx="5192713" cy="4849813"/>
          </a:xfrm>
        </p:spPr>
        <p:txBody>
          <a:bodyPr/>
          <a:lstStyle/>
          <a:p>
            <a:r>
              <a:rPr lang="en-US"/>
              <a:t>Click icon to add chart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578749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, Content and Char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0A5685-ADC9-4197-AAEB-665323328B34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3689"/>
            <a:ext cx="5056675" cy="3329423"/>
          </a:xfrm>
        </p:spPr>
        <p:txBody>
          <a:bodyPr numCol="1" spcCol="540000"/>
          <a:lstStyle>
            <a:lvl2pPr>
              <a:spcBef>
                <a:spcPts val="300"/>
              </a:spcBef>
              <a:defRPr/>
            </a:lvl2pPr>
            <a:lvl3pPr>
              <a:spcBef>
                <a:spcPts val="6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surion_Confidentia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639103-1054-48CB-9C4A-BC221A9D489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0063" y="1481655"/>
            <a:ext cx="5056675" cy="78676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275A3245-01FF-42DD-A6D1-85D456773FFD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499225" y="1041400"/>
            <a:ext cx="5192713" cy="484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687754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3800CAF-8C92-4417-9180-874FBE367E0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</p:spPr>
        <p:txBody>
          <a:bodyPr anchor="ctr"/>
          <a:lstStyle/>
          <a:p>
            <a:r>
              <a:rPr lang="en-US"/>
              <a:t>Click to add image&gt;</a:t>
            </a: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>
            <a:lvl1pPr>
              <a:defRPr sz="32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3689"/>
            <a:ext cx="5056675" cy="3329423"/>
          </a:xfrm>
        </p:spPr>
        <p:txBody>
          <a:bodyPr spcCol="540000"/>
          <a:lstStyle>
            <a:lvl2pPr>
              <a:spcBef>
                <a:spcPts val="300"/>
              </a:spcBef>
              <a:defRPr/>
            </a:lvl2pPr>
            <a:lvl3pPr>
              <a:spcBef>
                <a:spcPts val="6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639103-1054-48CB-9C4A-BC221A9D489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0063" y="1481655"/>
            <a:ext cx="5056675" cy="78676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06CD7DF-C4F2-B049-BE3C-8BD9236EDF6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6B3E6E2-23A9-4B4F-A714-771A9FF980F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79190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3800CAF-8C92-4417-9180-874FBE367E0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6858000"/>
          </a:xfrm>
        </p:spPr>
        <p:txBody>
          <a:bodyPr anchor="ctr"/>
          <a:lstStyle/>
          <a:p>
            <a:r>
              <a:rPr lang="en-US"/>
              <a:t>Click to add image&gt;</a:t>
            </a: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35262" y="440482"/>
            <a:ext cx="5056675" cy="1080135"/>
          </a:xfrm>
        </p:spPr>
        <p:txBody>
          <a:bodyPr/>
          <a:lstStyle>
            <a:lvl1pPr>
              <a:defRPr sz="32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35262" y="2523689"/>
            <a:ext cx="5056675" cy="3329423"/>
          </a:xfrm>
        </p:spPr>
        <p:txBody>
          <a:bodyPr spcCol="540000"/>
          <a:lstStyle>
            <a:lvl2pPr>
              <a:spcBef>
                <a:spcPts val="300"/>
              </a:spcBef>
              <a:defRPr/>
            </a:lvl2pPr>
            <a:lvl3pPr>
              <a:spcBef>
                <a:spcPts val="6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639103-1054-48CB-9C4A-BC221A9D489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635262" y="1481655"/>
            <a:ext cx="5056675" cy="78676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06CD7DF-C4F2-B049-BE3C-8BD9236EDF6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6B3E6E2-23A9-4B4F-A714-771A9FF980F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54489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053720D-9F4D-4684-9327-5523A748B8A3}"/>
              </a:ext>
            </a:extLst>
          </p:cNvPr>
          <p:cNvCxnSpPr/>
          <p:nvPr/>
        </p:nvCxnSpPr>
        <p:spPr>
          <a:xfrm>
            <a:off x="500062" y="4316231"/>
            <a:ext cx="5472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BDE24C3-99CC-479E-BF50-328B4BB36E5D}"/>
              </a:ext>
            </a:extLst>
          </p:cNvPr>
          <p:cNvCxnSpPr/>
          <p:nvPr/>
        </p:nvCxnSpPr>
        <p:spPr>
          <a:xfrm>
            <a:off x="6223001" y="4316231"/>
            <a:ext cx="5472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567A20FC-53DE-40AE-9086-6CA177CE7A0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0062" y="1788962"/>
            <a:ext cx="5472000" cy="234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44F5ED6C-5729-4BCA-B641-0DE3EA8059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23001" y="1788962"/>
            <a:ext cx="5472000" cy="234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D5707C-19B8-4344-919E-79F1D3BD71A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6308FA-1900-4A15-B816-41EE190CD43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23BD6D-CC29-4E45-990E-0D516E8F9C2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0063" y="4419255"/>
            <a:ext cx="5471999" cy="14624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1DABEC5-ADD1-4364-9B7B-AEB94D1E077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23001" y="4419255"/>
            <a:ext cx="5471999" cy="14624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125289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mag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053720D-9F4D-4684-9327-5523A748B8A3}"/>
              </a:ext>
            </a:extLst>
          </p:cNvPr>
          <p:cNvCxnSpPr/>
          <p:nvPr/>
        </p:nvCxnSpPr>
        <p:spPr>
          <a:xfrm>
            <a:off x="500063" y="4316231"/>
            <a:ext cx="3562351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BDE24C3-99CC-479E-BF50-328B4BB36E5D}"/>
              </a:ext>
            </a:extLst>
          </p:cNvPr>
          <p:cNvCxnSpPr/>
          <p:nvPr/>
        </p:nvCxnSpPr>
        <p:spPr>
          <a:xfrm>
            <a:off x="4314825" y="4316231"/>
            <a:ext cx="3562351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307E561-4A26-4F9F-8A63-FD201FA0C0FD}"/>
              </a:ext>
            </a:extLst>
          </p:cNvPr>
          <p:cNvCxnSpPr/>
          <p:nvPr/>
        </p:nvCxnSpPr>
        <p:spPr>
          <a:xfrm>
            <a:off x="8129587" y="4316231"/>
            <a:ext cx="3562351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567A20FC-53DE-40AE-9086-6CA177CE7A0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0063" y="1788962"/>
            <a:ext cx="3562350" cy="234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44F5ED6C-5729-4BCA-B641-0DE3EA8059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14826" y="1788962"/>
            <a:ext cx="3562350" cy="234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669F2190-4991-4ABB-B5C1-8535467AFA5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29588" y="1788962"/>
            <a:ext cx="3562350" cy="234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22F74907-9901-41D8-B02E-D5156ACAC59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CD76F14-B7C1-4783-A9BB-4763BFA8875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D65ED8-5F56-41D5-B431-89361D00D6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0064" y="4419255"/>
            <a:ext cx="3600000" cy="14624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4799D4C9-22E1-4D31-B1A1-BDD184F710E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14826" y="4419255"/>
            <a:ext cx="3600000" cy="14624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1E8CE649-5034-45B6-93BA-28668391D8E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29589" y="4419255"/>
            <a:ext cx="3600000" cy="14624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574950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0951"/>
            <a:ext cx="11191875" cy="33702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639103-1054-48CB-9C4A-BC221A9D489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0063" y="1481655"/>
            <a:ext cx="11191874" cy="78676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31622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22F74907-9901-41D8-B02E-D5156ACAC59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CD76F14-B7C1-4783-A9BB-4763BFA8875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86DF79B9-639E-4799-815D-476F130D30D5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xfrm>
            <a:off x="500063" y="1481655"/>
            <a:ext cx="5056675" cy="78676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24C50ECB-AA26-4399-9645-112A108CA439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500063" y="2658741"/>
            <a:ext cx="2635250" cy="2127572"/>
          </a:xfrm>
        </p:spPr>
        <p:txBody>
          <a:bodyPr/>
          <a:lstStyle/>
          <a:p>
            <a:r>
              <a:rPr lang="en-US"/>
              <a:t>Click icon to add chart</a:t>
            </a:r>
            <a:endParaRPr/>
          </a:p>
        </p:txBody>
      </p:sp>
      <p:sp>
        <p:nvSpPr>
          <p:cNvPr id="24" name="Chart Placeholder 4">
            <a:extLst>
              <a:ext uri="{FF2B5EF4-FFF2-40B4-BE49-F238E27FC236}">
                <a16:creationId xmlns:a16="http://schemas.microsoft.com/office/drawing/2014/main" id="{5F3EB2C3-AC8E-4242-A032-7D9830F6FEBA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3280586" y="2658741"/>
            <a:ext cx="2635250" cy="2127572"/>
          </a:xfrm>
        </p:spPr>
        <p:txBody>
          <a:bodyPr/>
          <a:lstStyle/>
          <a:p>
            <a:r>
              <a:rPr lang="en-US"/>
              <a:t>Click icon to add chart</a:t>
            </a:r>
            <a:endParaRPr/>
          </a:p>
        </p:txBody>
      </p:sp>
      <p:sp>
        <p:nvSpPr>
          <p:cNvPr id="26" name="Chart Placeholder 4">
            <a:extLst>
              <a:ext uri="{FF2B5EF4-FFF2-40B4-BE49-F238E27FC236}">
                <a16:creationId xmlns:a16="http://schemas.microsoft.com/office/drawing/2014/main" id="{766F0A22-4D5D-4D16-9178-1D5760AEA8C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089101" y="2658741"/>
            <a:ext cx="2635250" cy="2127572"/>
          </a:xfrm>
        </p:spPr>
        <p:txBody>
          <a:bodyPr/>
          <a:lstStyle/>
          <a:p>
            <a:r>
              <a:rPr lang="en-US"/>
              <a:t>Click icon to add chart</a:t>
            </a:r>
            <a:endParaRPr/>
          </a:p>
        </p:txBody>
      </p:sp>
      <p:sp>
        <p:nvSpPr>
          <p:cNvPr id="28" name="Chart Placeholder 4">
            <a:extLst>
              <a:ext uri="{FF2B5EF4-FFF2-40B4-BE49-F238E27FC236}">
                <a16:creationId xmlns:a16="http://schemas.microsoft.com/office/drawing/2014/main" id="{398AB6F5-E5DE-4AB5-9469-650F5C7BC02F}"/>
              </a:ext>
            </a:extLst>
          </p:cNvPr>
          <p:cNvSpPr>
            <a:spLocks noGrp="1"/>
          </p:cNvSpPr>
          <p:nvPr>
            <p:ph type="chart" sz="quarter" idx="29"/>
          </p:nvPr>
        </p:nvSpPr>
        <p:spPr>
          <a:xfrm>
            <a:off x="8897615" y="2658741"/>
            <a:ext cx="2635250" cy="2127572"/>
          </a:xfrm>
        </p:spPr>
        <p:txBody>
          <a:bodyPr/>
          <a:lstStyle/>
          <a:p>
            <a:r>
              <a:rPr lang="en-US"/>
              <a:t>Click icon to add chart</a:t>
            </a:r>
            <a:endParaRPr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A20137-9C0C-4DA4-BD4C-2707DA74673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00064" y="4861249"/>
            <a:ext cx="2635021" cy="1020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AFBC60B-11E0-4694-8DBF-0DD62EDB6B4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280587" y="4861249"/>
            <a:ext cx="2635021" cy="1020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EF1E8D3-913B-4B30-9DFE-B66976F583F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089101" y="4861249"/>
            <a:ext cx="2635021" cy="1020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7643B64F-FD95-47DA-A080-4E4F73C9AFE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897616" y="4861249"/>
            <a:ext cx="2635021" cy="1020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36236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2"/>
          <p:cNvSpPr>
            <a:spLocks noGrp="1"/>
          </p:cNvSpPr>
          <p:nvPr>
            <p:ph type="body" idx="13"/>
          </p:nvPr>
        </p:nvSpPr>
        <p:spPr>
          <a:xfrm>
            <a:off x="500063" y="1483200"/>
            <a:ext cx="5470526" cy="786765"/>
          </a:xfrm>
        </p:spPr>
        <p:txBody>
          <a:bodyPr anchor="t" anchorCtr="0"/>
          <a:lstStyle>
            <a:lvl1pPr marL="0" indent="0"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4"/>
          </p:nvPr>
        </p:nvSpPr>
        <p:spPr>
          <a:xfrm>
            <a:off x="500063" y="2520950"/>
            <a:ext cx="5470525" cy="3370263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5"/>
          </p:nvPr>
        </p:nvSpPr>
        <p:spPr>
          <a:xfrm>
            <a:off x="6221414" y="2520950"/>
            <a:ext cx="5471476" cy="3370263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F1517A8-590F-479B-8350-B8C027A8A9C5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221412" y="1483200"/>
            <a:ext cx="5471477" cy="786765"/>
          </a:xfrm>
        </p:spPr>
        <p:txBody>
          <a:bodyPr anchor="t" anchorCtr="0"/>
          <a:lstStyle>
            <a:lvl1pPr marL="0" indent="0"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6FA19B-A4D4-453E-A2F4-59F228B33EC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1EE0A0-3F25-4EDE-BBFD-3C1C36E0BBA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29387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Qu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C235105-E2BB-B241-872E-8B764C2735C7}"/>
              </a:ext>
            </a:extLst>
          </p:cNvPr>
          <p:cNvSpPr/>
          <p:nvPr/>
        </p:nvSpPr>
        <p:spPr>
          <a:xfrm>
            <a:off x="6096000" y="0"/>
            <a:ext cx="3050607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8EFCE1D-E624-4B47-B86B-57779E9F52FC}"/>
              </a:ext>
            </a:extLst>
          </p:cNvPr>
          <p:cNvSpPr/>
          <p:nvPr/>
        </p:nvSpPr>
        <p:spPr>
          <a:xfrm>
            <a:off x="9141393" y="0"/>
            <a:ext cx="3050607" cy="3429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9400735-3BA6-1C44-B9F2-D8576A3F811D}"/>
              </a:ext>
            </a:extLst>
          </p:cNvPr>
          <p:cNvSpPr/>
          <p:nvPr/>
        </p:nvSpPr>
        <p:spPr>
          <a:xfrm>
            <a:off x="6096000" y="3429000"/>
            <a:ext cx="3050607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3CAFAB7-8E16-754B-90EC-4F2AF27FB0CC}"/>
              </a:ext>
            </a:extLst>
          </p:cNvPr>
          <p:cNvSpPr/>
          <p:nvPr/>
        </p:nvSpPr>
        <p:spPr>
          <a:xfrm>
            <a:off x="9141393" y="3429000"/>
            <a:ext cx="3050607" cy="3429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3689"/>
            <a:ext cx="5056675" cy="3329423"/>
          </a:xfrm>
        </p:spPr>
        <p:txBody>
          <a:bodyPr spcCol="54000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surion_Confidentia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046C3961-C530-D643-976B-752E6A3E6D3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43361" y="2144693"/>
            <a:ext cx="2355884" cy="59979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E06E42E7-38E9-9445-A365-51FFE703735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43361" y="5395158"/>
            <a:ext cx="2355884" cy="59979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ECAB8C3D-C645-6B4F-8943-0C2FBE84B98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488754" y="2144693"/>
            <a:ext cx="2355884" cy="59979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3601AE7F-A10B-EB41-8F5A-F2B00DA6B65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88754" y="5395158"/>
            <a:ext cx="2355884" cy="59979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FD3E78BC-709E-E147-87C2-021736A7535D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801042" y="466344"/>
            <a:ext cx="1640752" cy="1495306"/>
          </a:xfrm>
        </p:spPr>
        <p:txBody>
          <a:bodyPr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t>Content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ED8ABA53-CD5D-5D4A-8042-B0835E310760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9851649" y="466344"/>
            <a:ext cx="1640752" cy="1495306"/>
          </a:xfrm>
        </p:spPr>
        <p:txBody>
          <a:bodyPr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t>Content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45E06A9-602E-0A44-84B6-62D407BE4F57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6801042" y="3716809"/>
            <a:ext cx="1640752" cy="1495306"/>
          </a:xfrm>
        </p:spPr>
        <p:txBody>
          <a:bodyPr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t>Content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D79F0669-4F9E-E646-A67C-2FCEBFA523D4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9851649" y="3716809"/>
            <a:ext cx="1640752" cy="1495306"/>
          </a:xfrm>
        </p:spPr>
        <p:txBody>
          <a:bodyPr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131772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Content and Qu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3689"/>
            <a:ext cx="5056675" cy="3329423"/>
          </a:xfrm>
        </p:spPr>
        <p:txBody>
          <a:bodyPr spcCol="54000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surion_Confidentia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4F72CA0-107F-4A4A-862E-98C88AC732F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3044825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687F16B1-C282-434C-AD8F-D67D33B93ED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47175" y="0"/>
            <a:ext cx="3044825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674F1A84-A715-1642-9A6D-724C0D4B3C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3044825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22454BBB-552C-1443-823A-2C496CBE510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47175" y="3429000"/>
            <a:ext cx="3044825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33008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4C8F12B-D471-4524-A21D-E2E0C4A3A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203B0C-11E9-4FDC-A004-C78D9EB13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99446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5DBBB8B-648D-4197-97B9-AE71487D25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5924E6F-6328-463D-B419-65509C9FE4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940D067-40C5-E143-9E9E-B526DF48AD1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61" y="6390186"/>
            <a:ext cx="918000" cy="332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547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598678-86C0-48BA-A39A-FF8C08834E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1E9215-17E8-49B1-A387-1E2239FBC9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38579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with iPh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monitor&#10;&#10;Description automatically generated">
            <a:extLst>
              <a:ext uri="{FF2B5EF4-FFF2-40B4-BE49-F238E27FC236}">
                <a16:creationId xmlns:a16="http://schemas.microsoft.com/office/drawing/2014/main" id="{7128FF66-3EA6-42D2-A583-39E18B57E9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914" y="1095375"/>
            <a:ext cx="2962122" cy="4536000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00064" y="5288239"/>
            <a:ext cx="3600000" cy="783091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3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314826" y="5288239"/>
            <a:ext cx="3600000" cy="783091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1ECDB9F2-27F4-42DB-89BF-A79294975B4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29588" y="5288239"/>
            <a:ext cx="3600000" cy="783091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5179A366-3852-4680-B35F-C5CAF0ED315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65109" y="1810291"/>
            <a:ext cx="1452882" cy="3088800"/>
          </a:xfrm>
          <a:custGeom>
            <a:avLst/>
            <a:gdLst>
              <a:gd name="connsiteX0" fmla="*/ 202870 w 1452882"/>
              <a:gd name="connsiteY0" fmla="*/ 0 h 3088800"/>
              <a:gd name="connsiteX1" fmla="*/ 307352 w 1452882"/>
              <a:gd name="connsiteY1" fmla="*/ 0 h 3088800"/>
              <a:gd name="connsiteX2" fmla="*/ 321573 w 1452882"/>
              <a:gd name="connsiteY2" fmla="*/ 16508 h 3088800"/>
              <a:gd name="connsiteX3" fmla="*/ 363366 w 1452882"/>
              <a:gd name="connsiteY3" fmla="*/ 98181 h 3088800"/>
              <a:gd name="connsiteX4" fmla="*/ 416768 w 1452882"/>
              <a:gd name="connsiteY4" fmla="*/ 106580 h 3088800"/>
              <a:gd name="connsiteX5" fmla="*/ 1056431 w 1452882"/>
              <a:gd name="connsiteY5" fmla="*/ 106580 h 3088800"/>
              <a:gd name="connsiteX6" fmla="*/ 1095902 w 1452882"/>
              <a:gd name="connsiteY6" fmla="*/ 87755 h 3088800"/>
              <a:gd name="connsiteX7" fmla="*/ 1130439 w 1452882"/>
              <a:gd name="connsiteY7" fmla="*/ 9847 h 3088800"/>
              <a:gd name="connsiteX8" fmla="*/ 1147562 w 1452882"/>
              <a:gd name="connsiteY8" fmla="*/ 579 h 3088800"/>
              <a:gd name="connsiteX9" fmla="*/ 1262202 w 1452882"/>
              <a:gd name="connsiteY9" fmla="*/ 579 h 3088800"/>
              <a:gd name="connsiteX10" fmla="*/ 1389032 w 1452882"/>
              <a:gd name="connsiteY10" fmla="*/ 62558 h 3088800"/>
              <a:gd name="connsiteX11" fmla="*/ 1440112 w 1452882"/>
              <a:gd name="connsiteY11" fmla="*/ 140466 h 3088800"/>
              <a:gd name="connsiteX12" fmla="*/ 1452882 w 1452882"/>
              <a:gd name="connsiteY12" fmla="*/ 200128 h 3088800"/>
              <a:gd name="connsiteX13" fmla="*/ 1452882 w 1452882"/>
              <a:gd name="connsiteY13" fmla="*/ 2893886 h 3088800"/>
              <a:gd name="connsiteX14" fmla="*/ 1400061 w 1452882"/>
              <a:gd name="connsiteY14" fmla="*/ 3015816 h 3088800"/>
              <a:gd name="connsiteX15" fmla="*/ 1327794 w 1452882"/>
              <a:gd name="connsiteY15" fmla="*/ 3069396 h 3088800"/>
              <a:gd name="connsiteX16" fmla="*/ 1250013 w 1452882"/>
              <a:gd name="connsiteY16" fmla="*/ 3088800 h 3088800"/>
              <a:gd name="connsiteX17" fmla="*/ 195904 w 1452882"/>
              <a:gd name="connsiteY17" fmla="*/ 3088800 h 3088800"/>
              <a:gd name="connsiteX18" fmla="*/ 120445 w 1452882"/>
              <a:gd name="connsiteY18" fmla="*/ 3067368 h 3088800"/>
              <a:gd name="connsiteX19" fmla="*/ 48178 w 1452882"/>
              <a:gd name="connsiteY19" fmla="*/ 3008865 h 3088800"/>
              <a:gd name="connsiteX20" fmla="*/ 0 w 1452882"/>
              <a:gd name="connsiteY20" fmla="*/ 2877957 h 3088800"/>
              <a:gd name="connsiteX21" fmla="*/ 871 w 1452882"/>
              <a:gd name="connsiteY21" fmla="*/ 204472 h 3088800"/>
              <a:gd name="connsiteX22" fmla="*/ 17704 w 1452882"/>
              <a:gd name="connsiteY22" fmla="*/ 126854 h 3088800"/>
              <a:gd name="connsiteX23" fmla="*/ 68784 w 1452882"/>
              <a:gd name="connsiteY23" fmla="*/ 58503 h 3088800"/>
              <a:gd name="connsiteX24" fmla="*/ 202870 w 1452882"/>
              <a:gd name="connsiteY24" fmla="*/ 0 h 30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52882" h="3088800">
                <a:moveTo>
                  <a:pt x="202870" y="0"/>
                </a:moveTo>
                <a:cubicBezTo>
                  <a:pt x="307352" y="0"/>
                  <a:pt x="307352" y="0"/>
                  <a:pt x="307352" y="0"/>
                </a:cubicBezTo>
                <a:cubicBezTo>
                  <a:pt x="307352" y="0"/>
                  <a:pt x="317220" y="2896"/>
                  <a:pt x="321573" y="16508"/>
                </a:cubicBezTo>
                <a:cubicBezTo>
                  <a:pt x="325926" y="30121"/>
                  <a:pt x="339567" y="82542"/>
                  <a:pt x="363366" y="98181"/>
                </a:cubicBezTo>
                <a:cubicBezTo>
                  <a:pt x="382231" y="110345"/>
                  <a:pt x="416768" y="106580"/>
                  <a:pt x="416768" y="106580"/>
                </a:cubicBezTo>
                <a:cubicBezTo>
                  <a:pt x="1056431" y="106580"/>
                  <a:pt x="1056431" y="106580"/>
                  <a:pt x="1056431" y="106580"/>
                </a:cubicBezTo>
                <a:cubicBezTo>
                  <a:pt x="1056431" y="106580"/>
                  <a:pt x="1080229" y="107739"/>
                  <a:pt x="1095902" y="87755"/>
                </a:cubicBezTo>
                <a:cubicBezTo>
                  <a:pt x="1111574" y="68061"/>
                  <a:pt x="1130439" y="9847"/>
                  <a:pt x="1130439" y="9847"/>
                </a:cubicBezTo>
                <a:cubicBezTo>
                  <a:pt x="1130439" y="9847"/>
                  <a:pt x="1133051" y="579"/>
                  <a:pt x="1147562" y="579"/>
                </a:cubicBezTo>
                <a:cubicBezTo>
                  <a:pt x="1162364" y="579"/>
                  <a:pt x="1255237" y="579"/>
                  <a:pt x="1262202" y="579"/>
                </a:cubicBezTo>
                <a:cubicBezTo>
                  <a:pt x="1265395" y="579"/>
                  <a:pt x="1344337" y="15060"/>
                  <a:pt x="1389032" y="62558"/>
                </a:cubicBezTo>
                <a:cubicBezTo>
                  <a:pt x="1411089" y="86017"/>
                  <a:pt x="1431115" y="114400"/>
                  <a:pt x="1440112" y="140466"/>
                </a:cubicBezTo>
                <a:cubicBezTo>
                  <a:pt x="1451431" y="172324"/>
                  <a:pt x="1452882" y="200128"/>
                  <a:pt x="1452882" y="200128"/>
                </a:cubicBezTo>
                <a:cubicBezTo>
                  <a:pt x="1452882" y="2893886"/>
                  <a:pt x="1452882" y="2893886"/>
                  <a:pt x="1452882" y="2893886"/>
                </a:cubicBezTo>
                <a:cubicBezTo>
                  <a:pt x="1452882" y="2893886"/>
                  <a:pt x="1443305" y="2974690"/>
                  <a:pt x="1400061" y="3015816"/>
                </a:cubicBezTo>
                <a:cubicBezTo>
                  <a:pt x="1373360" y="3041302"/>
                  <a:pt x="1353334" y="3058100"/>
                  <a:pt x="1327794" y="3069396"/>
                </a:cubicBezTo>
                <a:cubicBezTo>
                  <a:pt x="1287742" y="3087352"/>
                  <a:pt x="1250013" y="3088800"/>
                  <a:pt x="1250013" y="3088800"/>
                </a:cubicBezTo>
                <a:cubicBezTo>
                  <a:pt x="195904" y="3088800"/>
                  <a:pt x="195904" y="3088800"/>
                  <a:pt x="195904" y="3088800"/>
                </a:cubicBezTo>
                <a:cubicBezTo>
                  <a:pt x="195904" y="3088800"/>
                  <a:pt x="157013" y="3084456"/>
                  <a:pt x="120445" y="3067368"/>
                </a:cubicBezTo>
                <a:cubicBezTo>
                  <a:pt x="85908" y="3051439"/>
                  <a:pt x="72267" y="3034641"/>
                  <a:pt x="48178" y="3008865"/>
                </a:cubicBezTo>
                <a:cubicBezTo>
                  <a:pt x="581" y="2957602"/>
                  <a:pt x="0" y="2877957"/>
                  <a:pt x="0" y="2877957"/>
                </a:cubicBezTo>
                <a:lnTo>
                  <a:pt x="871" y="204472"/>
                </a:lnTo>
                <a:cubicBezTo>
                  <a:pt x="871" y="204472"/>
                  <a:pt x="1161" y="167111"/>
                  <a:pt x="17704" y="126854"/>
                </a:cubicBezTo>
                <a:cubicBezTo>
                  <a:pt x="27572" y="102815"/>
                  <a:pt x="49049" y="78198"/>
                  <a:pt x="68784" y="58503"/>
                </a:cubicBezTo>
                <a:cubicBezTo>
                  <a:pt x="117252" y="9268"/>
                  <a:pt x="202870" y="0"/>
                  <a:pt x="202870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22F74907-9901-41D8-B02E-D5156ACAC59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CD76F14-B7C1-4783-A9BB-4763BFA8875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pic>
        <p:nvPicPr>
          <p:cNvPr id="27" name="Picture 26" descr="A picture containing monitor&#10;&#10;Description automatically generated">
            <a:extLst>
              <a:ext uri="{FF2B5EF4-FFF2-40B4-BE49-F238E27FC236}">
                <a16:creationId xmlns:a16="http://schemas.microsoft.com/office/drawing/2014/main" id="{154FF016-7F02-472C-B9A6-FD4F50DF36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3824" y="1095375"/>
            <a:ext cx="2962122" cy="4536000"/>
          </a:xfrm>
          <a:prstGeom prst="rect">
            <a:avLst/>
          </a:prstGeom>
        </p:spPr>
      </p:pic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2EEBB07D-0B9A-4E6E-8341-D43B950E589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317019" y="1810291"/>
            <a:ext cx="1452882" cy="3088800"/>
          </a:xfrm>
          <a:custGeom>
            <a:avLst/>
            <a:gdLst>
              <a:gd name="connsiteX0" fmla="*/ 202870 w 1452882"/>
              <a:gd name="connsiteY0" fmla="*/ 0 h 3088800"/>
              <a:gd name="connsiteX1" fmla="*/ 307352 w 1452882"/>
              <a:gd name="connsiteY1" fmla="*/ 0 h 3088800"/>
              <a:gd name="connsiteX2" fmla="*/ 321573 w 1452882"/>
              <a:gd name="connsiteY2" fmla="*/ 16508 h 3088800"/>
              <a:gd name="connsiteX3" fmla="*/ 363366 w 1452882"/>
              <a:gd name="connsiteY3" fmla="*/ 98181 h 3088800"/>
              <a:gd name="connsiteX4" fmla="*/ 416768 w 1452882"/>
              <a:gd name="connsiteY4" fmla="*/ 106580 h 3088800"/>
              <a:gd name="connsiteX5" fmla="*/ 1056431 w 1452882"/>
              <a:gd name="connsiteY5" fmla="*/ 106580 h 3088800"/>
              <a:gd name="connsiteX6" fmla="*/ 1095902 w 1452882"/>
              <a:gd name="connsiteY6" fmla="*/ 87755 h 3088800"/>
              <a:gd name="connsiteX7" fmla="*/ 1130439 w 1452882"/>
              <a:gd name="connsiteY7" fmla="*/ 9847 h 3088800"/>
              <a:gd name="connsiteX8" fmla="*/ 1147562 w 1452882"/>
              <a:gd name="connsiteY8" fmla="*/ 579 h 3088800"/>
              <a:gd name="connsiteX9" fmla="*/ 1262202 w 1452882"/>
              <a:gd name="connsiteY9" fmla="*/ 579 h 3088800"/>
              <a:gd name="connsiteX10" fmla="*/ 1389032 w 1452882"/>
              <a:gd name="connsiteY10" fmla="*/ 62558 h 3088800"/>
              <a:gd name="connsiteX11" fmla="*/ 1440112 w 1452882"/>
              <a:gd name="connsiteY11" fmla="*/ 140466 h 3088800"/>
              <a:gd name="connsiteX12" fmla="*/ 1452882 w 1452882"/>
              <a:gd name="connsiteY12" fmla="*/ 200128 h 3088800"/>
              <a:gd name="connsiteX13" fmla="*/ 1452882 w 1452882"/>
              <a:gd name="connsiteY13" fmla="*/ 2893886 h 3088800"/>
              <a:gd name="connsiteX14" fmla="*/ 1400061 w 1452882"/>
              <a:gd name="connsiteY14" fmla="*/ 3015816 h 3088800"/>
              <a:gd name="connsiteX15" fmla="*/ 1327794 w 1452882"/>
              <a:gd name="connsiteY15" fmla="*/ 3069396 h 3088800"/>
              <a:gd name="connsiteX16" fmla="*/ 1250013 w 1452882"/>
              <a:gd name="connsiteY16" fmla="*/ 3088800 h 3088800"/>
              <a:gd name="connsiteX17" fmla="*/ 195904 w 1452882"/>
              <a:gd name="connsiteY17" fmla="*/ 3088800 h 3088800"/>
              <a:gd name="connsiteX18" fmla="*/ 120445 w 1452882"/>
              <a:gd name="connsiteY18" fmla="*/ 3067368 h 3088800"/>
              <a:gd name="connsiteX19" fmla="*/ 48178 w 1452882"/>
              <a:gd name="connsiteY19" fmla="*/ 3008865 h 3088800"/>
              <a:gd name="connsiteX20" fmla="*/ 0 w 1452882"/>
              <a:gd name="connsiteY20" fmla="*/ 2877957 h 3088800"/>
              <a:gd name="connsiteX21" fmla="*/ 871 w 1452882"/>
              <a:gd name="connsiteY21" fmla="*/ 204472 h 3088800"/>
              <a:gd name="connsiteX22" fmla="*/ 17704 w 1452882"/>
              <a:gd name="connsiteY22" fmla="*/ 126854 h 3088800"/>
              <a:gd name="connsiteX23" fmla="*/ 68784 w 1452882"/>
              <a:gd name="connsiteY23" fmla="*/ 58503 h 3088800"/>
              <a:gd name="connsiteX24" fmla="*/ 202870 w 1452882"/>
              <a:gd name="connsiteY24" fmla="*/ 0 h 30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52882" h="3088800">
                <a:moveTo>
                  <a:pt x="202870" y="0"/>
                </a:moveTo>
                <a:cubicBezTo>
                  <a:pt x="307352" y="0"/>
                  <a:pt x="307352" y="0"/>
                  <a:pt x="307352" y="0"/>
                </a:cubicBezTo>
                <a:cubicBezTo>
                  <a:pt x="307352" y="0"/>
                  <a:pt x="317220" y="2896"/>
                  <a:pt x="321573" y="16508"/>
                </a:cubicBezTo>
                <a:cubicBezTo>
                  <a:pt x="325926" y="30121"/>
                  <a:pt x="339567" y="82542"/>
                  <a:pt x="363366" y="98181"/>
                </a:cubicBezTo>
                <a:cubicBezTo>
                  <a:pt x="382231" y="110345"/>
                  <a:pt x="416768" y="106580"/>
                  <a:pt x="416768" y="106580"/>
                </a:cubicBezTo>
                <a:cubicBezTo>
                  <a:pt x="1056431" y="106580"/>
                  <a:pt x="1056431" y="106580"/>
                  <a:pt x="1056431" y="106580"/>
                </a:cubicBezTo>
                <a:cubicBezTo>
                  <a:pt x="1056431" y="106580"/>
                  <a:pt x="1080229" y="107739"/>
                  <a:pt x="1095902" y="87755"/>
                </a:cubicBezTo>
                <a:cubicBezTo>
                  <a:pt x="1111574" y="68061"/>
                  <a:pt x="1130439" y="9847"/>
                  <a:pt x="1130439" y="9847"/>
                </a:cubicBezTo>
                <a:cubicBezTo>
                  <a:pt x="1130439" y="9847"/>
                  <a:pt x="1133051" y="579"/>
                  <a:pt x="1147562" y="579"/>
                </a:cubicBezTo>
                <a:cubicBezTo>
                  <a:pt x="1162364" y="579"/>
                  <a:pt x="1255237" y="579"/>
                  <a:pt x="1262202" y="579"/>
                </a:cubicBezTo>
                <a:cubicBezTo>
                  <a:pt x="1265395" y="579"/>
                  <a:pt x="1344337" y="15060"/>
                  <a:pt x="1389032" y="62558"/>
                </a:cubicBezTo>
                <a:cubicBezTo>
                  <a:pt x="1411089" y="86017"/>
                  <a:pt x="1431115" y="114400"/>
                  <a:pt x="1440112" y="140466"/>
                </a:cubicBezTo>
                <a:cubicBezTo>
                  <a:pt x="1451431" y="172324"/>
                  <a:pt x="1452882" y="200128"/>
                  <a:pt x="1452882" y="200128"/>
                </a:cubicBezTo>
                <a:cubicBezTo>
                  <a:pt x="1452882" y="2893886"/>
                  <a:pt x="1452882" y="2893886"/>
                  <a:pt x="1452882" y="2893886"/>
                </a:cubicBezTo>
                <a:cubicBezTo>
                  <a:pt x="1452882" y="2893886"/>
                  <a:pt x="1443305" y="2974690"/>
                  <a:pt x="1400061" y="3015816"/>
                </a:cubicBezTo>
                <a:cubicBezTo>
                  <a:pt x="1373360" y="3041302"/>
                  <a:pt x="1353334" y="3058100"/>
                  <a:pt x="1327794" y="3069396"/>
                </a:cubicBezTo>
                <a:cubicBezTo>
                  <a:pt x="1287742" y="3087352"/>
                  <a:pt x="1250013" y="3088800"/>
                  <a:pt x="1250013" y="3088800"/>
                </a:cubicBezTo>
                <a:cubicBezTo>
                  <a:pt x="195904" y="3088800"/>
                  <a:pt x="195904" y="3088800"/>
                  <a:pt x="195904" y="3088800"/>
                </a:cubicBezTo>
                <a:cubicBezTo>
                  <a:pt x="195904" y="3088800"/>
                  <a:pt x="157013" y="3084456"/>
                  <a:pt x="120445" y="3067368"/>
                </a:cubicBezTo>
                <a:cubicBezTo>
                  <a:pt x="85908" y="3051439"/>
                  <a:pt x="72267" y="3034641"/>
                  <a:pt x="48178" y="3008865"/>
                </a:cubicBezTo>
                <a:cubicBezTo>
                  <a:pt x="581" y="2957602"/>
                  <a:pt x="0" y="2877957"/>
                  <a:pt x="0" y="2877957"/>
                </a:cubicBezTo>
                <a:lnTo>
                  <a:pt x="871" y="204472"/>
                </a:lnTo>
                <a:cubicBezTo>
                  <a:pt x="871" y="204472"/>
                  <a:pt x="1161" y="167111"/>
                  <a:pt x="17704" y="126854"/>
                </a:cubicBezTo>
                <a:cubicBezTo>
                  <a:pt x="27572" y="102815"/>
                  <a:pt x="49049" y="78198"/>
                  <a:pt x="68784" y="58503"/>
                </a:cubicBezTo>
                <a:cubicBezTo>
                  <a:pt x="117252" y="9268"/>
                  <a:pt x="202870" y="0"/>
                  <a:pt x="202870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pic>
        <p:nvPicPr>
          <p:cNvPr id="29" name="Picture 28" descr="A picture containing monitor&#10;&#10;Description automatically generated">
            <a:extLst>
              <a:ext uri="{FF2B5EF4-FFF2-40B4-BE49-F238E27FC236}">
                <a16:creationId xmlns:a16="http://schemas.microsoft.com/office/drawing/2014/main" id="{A70AE4C1-4526-4D22-9301-A6F93E38D7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164" y="1095375"/>
            <a:ext cx="2962122" cy="4536000"/>
          </a:xfrm>
          <a:prstGeom prst="rect">
            <a:avLst/>
          </a:prstGeom>
        </p:spPr>
      </p:pic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2681D62F-4793-4C2E-8783-7DAF67F9AF3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80359" y="1810291"/>
            <a:ext cx="1452882" cy="3088800"/>
          </a:xfrm>
          <a:custGeom>
            <a:avLst/>
            <a:gdLst>
              <a:gd name="connsiteX0" fmla="*/ 202870 w 1452882"/>
              <a:gd name="connsiteY0" fmla="*/ 0 h 3088800"/>
              <a:gd name="connsiteX1" fmla="*/ 307352 w 1452882"/>
              <a:gd name="connsiteY1" fmla="*/ 0 h 3088800"/>
              <a:gd name="connsiteX2" fmla="*/ 321573 w 1452882"/>
              <a:gd name="connsiteY2" fmla="*/ 16508 h 3088800"/>
              <a:gd name="connsiteX3" fmla="*/ 363366 w 1452882"/>
              <a:gd name="connsiteY3" fmla="*/ 98181 h 3088800"/>
              <a:gd name="connsiteX4" fmla="*/ 416768 w 1452882"/>
              <a:gd name="connsiteY4" fmla="*/ 106580 h 3088800"/>
              <a:gd name="connsiteX5" fmla="*/ 1056431 w 1452882"/>
              <a:gd name="connsiteY5" fmla="*/ 106580 h 3088800"/>
              <a:gd name="connsiteX6" fmla="*/ 1095902 w 1452882"/>
              <a:gd name="connsiteY6" fmla="*/ 87755 h 3088800"/>
              <a:gd name="connsiteX7" fmla="*/ 1130439 w 1452882"/>
              <a:gd name="connsiteY7" fmla="*/ 9847 h 3088800"/>
              <a:gd name="connsiteX8" fmla="*/ 1147562 w 1452882"/>
              <a:gd name="connsiteY8" fmla="*/ 579 h 3088800"/>
              <a:gd name="connsiteX9" fmla="*/ 1262202 w 1452882"/>
              <a:gd name="connsiteY9" fmla="*/ 579 h 3088800"/>
              <a:gd name="connsiteX10" fmla="*/ 1389032 w 1452882"/>
              <a:gd name="connsiteY10" fmla="*/ 62558 h 3088800"/>
              <a:gd name="connsiteX11" fmla="*/ 1440112 w 1452882"/>
              <a:gd name="connsiteY11" fmla="*/ 140466 h 3088800"/>
              <a:gd name="connsiteX12" fmla="*/ 1452882 w 1452882"/>
              <a:gd name="connsiteY12" fmla="*/ 200128 h 3088800"/>
              <a:gd name="connsiteX13" fmla="*/ 1452882 w 1452882"/>
              <a:gd name="connsiteY13" fmla="*/ 2893886 h 3088800"/>
              <a:gd name="connsiteX14" fmla="*/ 1400061 w 1452882"/>
              <a:gd name="connsiteY14" fmla="*/ 3015816 h 3088800"/>
              <a:gd name="connsiteX15" fmla="*/ 1327794 w 1452882"/>
              <a:gd name="connsiteY15" fmla="*/ 3069396 h 3088800"/>
              <a:gd name="connsiteX16" fmla="*/ 1250013 w 1452882"/>
              <a:gd name="connsiteY16" fmla="*/ 3088800 h 3088800"/>
              <a:gd name="connsiteX17" fmla="*/ 195904 w 1452882"/>
              <a:gd name="connsiteY17" fmla="*/ 3088800 h 3088800"/>
              <a:gd name="connsiteX18" fmla="*/ 120445 w 1452882"/>
              <a:gd name="connsiteY18" fmla="*/ 3067368 h 3088800"/>
              <a:gd name="connsiteX19" fmla="*/ 48178 w 1452882"/>
              <a:gd name="connsiteY19" fmla="*/ 3008865 h 3088800"/>
              <a:gd name="connsiteX20" fmla="*/ 0 w 1452882"/>
              <a:gd name="connsiteY20" fmla="*/ 2877957 h 3088800"/>
              <a:gd name="connsiteX21" fmla="*/ 871 w 1452882"/>
              <a:gd name="connsiteY21" fmla="*/ 204472 h 3088800"/>
              <a:gd name="connsiteX22" fmla="*/ 17704 w 1452882"/>
              <a:gd name="connsiteY22" fmla="*/ 126854 h 3088800"/>
              <a:gd name="connsiteX23" fmla="*/ 68784 w 1452882"/>
              <a:gd name="connsiteY23" fmla="*/ 58503 h 3088800"/>
              <a:gd name="connsiteX24" fmla="*/ 202870 w 1452882"/>
              <a:gd name="connsiteY24" fmla="*/ 0 h 30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52882" h="3088800">
                <a:moveTo>
                  <a:pt x="202870" y="0"/>
                </a:moveTo>
                <a:cubicBezTo>
                  <a:pt x="307352" y="0"/>
                  <a:pt x="307352" y="0"/>
                  <a:pt x="307352" y="0"/>
                </a:cubicBezTo>
                <a:cubicBezTo>
                  <a:pt x="307352" y="0"/>
                  <a:pt x="317220" y="2896"/>
                  <a:pt x="321573" y="16508"/>
                </a:cubicBezTo>
                <a:cubicBezTo>
                  <a:pt x="325926" y="30121"/>
                  <a:pt x="339567" y="82542"/>
                  <a:pt x="363366" y="98181"/>
                </a:cubicBezTo>
                <a:cubicBezTo>
                  <a:pt x="382231" y="110345"/>
                  <a:pt x="416768" y="106580"/>
                  <a:pt x="416768" y="106580"/>
                </a:cubicBezTo>
                <a:cubicBezTo>
                  <a:pt x="1056431" y="106580"/>
                  <a:pt x="1056431" y="106580"/>
                  <a:pt x="1056431" y="106580"/>
                </a:cubicBezTo>
                <a:cubicBezTo>
                  <a:pt x="1056431" y="106580"/>
                  <a:pt x="1080229" y="107739"/>
                  <a:pt x="1095902" y="87755"/>
                </a:cubicBezTo>
                <a:cubicBezTo>
                  <a:pt x="1111574" y="68061"/>
                  <a:pt x="1130439" y="9847"/>
                  <a:pt x="1130439" y="9847"/>
                </a:cubicBezTo>
                <a:cubicBezTo>
                  <a:pt x="1130439" y="9847"/>
                  <a:pt x="1133051" y="579"/>
                  <a:pt x="1147562" y="579"/>
                </a:cubicBezTo>
                <a:cubicBezTo>
                  <a:pt x="1162364" y="579"/>
                  <a:pt x="1255237" y="579"/>
                  <a:pt x="1262202" y="579"/>
                </a:cubicBezTo>
                <a:cubicBezTo>
                  <a:pt x="1265395" y="579"/>
                  <a:pt x="1344337" y="15060"/>
                  <a:pt x="1389032" y="62558"/>
                </a:cubicBezTo>
                <a:cubicBezTo>
                  <a:pt x="1411089" y="86017"/>
                  <a:pt x="1431115" y="114400"/>
                  <a:pt x="1440112" y="140466"/>
                </a:cubicBezTo>
                <a:cubicBezTo>
                  <a:pt x="1451431" y="172324"/>
                  <a:pt x="1452882" y="200128"/>
                  <a:pt x="1452882" y="200128"/>
                </a:cubicBezTo>
                <a:cubicBezTo>
                  <a:pt x="1452882" y="2893886"/>
                  <a:pt x="1452882" y="2893886"/>
                  <a:pt x="1452882" y="2893886"/>
                </a:cubicBezTo>
                <a:cubicBezTo>
                  <a:pt x="1452882" y="2893886"/>
                  <a:pt x="1443305" y="2974690"/>
                  <a:pt x="1400061" y="3015816"/>
                </a:cubicBezTo>
                <a:cubicBezTo>
                  <a:pt x="1373360" y="3041302"/>
                  <a:pt x="1353334" y="3058100"/>
                  <a:pt x="1327794" y="3069396"/>
                </a:cubicBezTo>
                <a:cubicBezTo>
                  <a:pt x="1287742" y="3087352"/>
                  <a:pt x="1250013" y="3088800"/>
                  <a:pt x="1250013" y="3088800"/>
                </a:cubicBezTo>
                <a:cubicBezTo>
                  <a:pt x="195904" y="3088800"/>
                  <a:pt x="195904" y="3088800"/>
                  <a:pt x="195904" y="3088800"/>
                </a:cubicBezTo>
                <a:cubicBezTo>
                  <a:pt x="195904" y="3088800"/>
                  <a:pt x="157013" y="3084456"/>
                  <a:pt x="120445" y="3067368"/>
                </a:cubicBezTo>
                <a:cubicBezTo>
                  <a:pt x="85908" y="3051439"/>
                  <a:pt x="72267" y="3034641"/>
                  <a:pt x="48178" y="3008865"/>
                </a:cubicBezTo>
                <a:cubicBezTo>
                  <a:pt x="581" y="2957602"/>
                  <a:pt x="0" y="2877957"/>
                  <a:pt x="0" y="2877957"/>
                </a:cubicBezTo>
                <a:lnTo>
                  <a:pt x="871" y="204472"/>
                </a:lnTo>
                <a:cubicBezTo>
                  <a:pt x="871" y="204472"/>
                  <a:pt x="1161" y="167111"/>
                  <a:pt x="17704" y="126854"/>
                </a:cubicBezTo>
                <a:cubicBezTo>
                  <a:pt x="27572" y="102815"/>
                  <a:pt x="49049" y="78198"/>
                  <a:pt x="68784" y="58503"/>
                </a:cubicBezTo>
                <a:cubicBezTo>
                  <a:pt x="117252" y="9268"/>
                  <a:pt x="202870" y="0"/>
                  <a:pt x="202870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721175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 with iPh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00064" y="5288239"/>
            <a:ext cx="3600000" cy="783091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3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314826" y="5288239"/>
            <a:ext cx="3600000" cy="783091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1ECDB9F2-27F4-42DB-89BF-A79294975B4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29588" y="5288239"/>
            <a:ext cx="3600000" cy="783091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5179A366-3852-4680-B35F-C5CAF0ED315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65109" y="1810291"/>
            <a:ext cx="1452882" cy="3088800"/>
          </a:xfrm>
          <a:custGeom>
            <a:avLst/>
            <a:gdLst>
              <a:gd name="connsiteX0" fmla="*/ 202870 w 1452882"/>
              <a:gd name="connsiteY0" fmla="*/ 0 h 3088800"/>
              <a:gd name="connsiteX1" fmla="*/ 307352 w 1452882"/>
              <a:gd name="connsiteY1" fmla="*/ 0 h 3088800"/>
              <a:gd name="connsiteX2" fmla="*/ 321573 w 1452882"/>
              <a:gd name="connsiteY2" fmla="*/ 16508 h 3088800"/>
              <a:gd name="connsiteX3" fmla="*/ 363366 w 1452882"/>
              <a:gd name="connsiteY3" fmla="*/ 98181 h 3088800"/>
              <a:gd name="connsiteX4" fmla="*/ 416768 w 1452882"/>
              <a:gd name="connsiteY4" fmla="*/ 106580 h 3088800"/>
              <a:gd name="connsiteX5" fmla="*/ 1056431 w 1452882"/>
              <a:gd name="connsiteY5" fmla="*/ 106580 h 3088800"/>
              <a:gd name="connsiteX6" fmla="*/ 1095902 w 1452882"/>
              <a:gd name="connsiteY6" fmla="*/ 87755 h 3088800"/>
              <a:gd name="connsiteX7" fmla="*/ 1130439 w 1452882"/>
              <a:gd name="connsiteY7" fmla="*/ 9847 h 3088800"/>
              <a:gd name="connsiteX8" fmla="*/ 1147562 w 1452882"/>
              <a:gd name="connsiteY8" fmla="*/ 579 h 3088800"/>
              <a:gd name="connsiteX9" fmla="*/ 1262202 w 1452882"/>
              <a:gd name="connsiteY9" fmla="*/ 579 h 3088800"/>
              <a:gd name="connsiteX10" fmla="*/ 1389032 w 1452882"/>
              <a:gd name="connsiteY10" fmla="*/ 62558 h 3088800"/>
              <a:gd name="connsiteX11" fmla="*/ 1440112 w 1452882"/>
              <a:gd name="connsiteY11" fmla="*/ 140466 h 3088800"/>
              <a:gd name="connsiteX12" fmla="*/ 1452882 w 1452882"/>
              <a:gd name="connsiteY12" fmla="*/ 200128 h 3088800"/>
              <a:gd name="connsiteX13" fmla="*/ 1452882 w 1452882"/>
              <a:gd name="connsiteY13" fmla="*/ 2893886 h 3088800"/>
              <a:gd name="connsiteX14" fmla="*/ 1400061 w 1452882"/>
              <a:gd name="connsiteY14" fmla="*/ 3015816 h 3088800"/>
              <a:gd name="connsiteX15" fmla="*/ 1327794 w 1452882"/>
              <a:gd name="connsiteY15" fmla="*/ 3069396 h 3088800"/>
              <a:gd name="connsiteX16" fmla="*/ 1250013 w 1452882"/>
              <a:gd name="connsiteY16" fmla="*/ 3088800 h 3088800"/>
              <a:gd name="connsiteX17" fmla="*/ 195904 w 1452882"/>
              <a:gd name="connsiteY17" fmla="*/ 3088800 h 3088800"/>
              <a:gd name="connsiteX18" fmla="*/ 120445 w 1452882"/>
              <a:gd name="connsiteY18" fmla="*/ 3067368 h 3088800"/>
              <a:gd name="connsiteX19" fmla="*/ 48178 w 1452882"/>
              <a:gd name="connsiteY19" fmla="*/ 3008865 h 3088800"/>
              <a:gd name="connsiteX20" fmla="*/ 0 w 1452882"/>
              <a:gd name="connsiteY20" fmla="*/ 2877957 h 3088800"/>
              <a:gd name="connsiteX21" fmla="*/ 871 w 1452882"/>
              <a:gd name="connsiteY21" fmla="*/ 204472 h 3088800"/>
              <a:gd name="connsiteX22" fmla="*/ 17704 w 1452882"/>
              <a:gd name="connsiteY22" fmla="*/ 126854 h 3088800"/>
              <a:gd name="connsiteX23" fmla="*/ 68784 w 1452882"/>
              <a:gd name="connsiteY23" fmla="*/ 58503 h 3088800"/>
              <a:gd name="connsiteX24" fmla="*/ 202870 w 1452882"/>
              <a:gd name="connsiteY24" fmla="*/ 0 h 30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52882" h="3088800">
                <a:moveTo>
                  <a:pt x="202870" y="0"/>
                </a:moveTo>
                <a:cubicBezTo>
                  <a:pt x="307352" y="0"/>
                  <a:pt x="307352" y="0"/>
                  <a:pt x="307352" y="0"/>
                </a:cubicBezTo>
                <a:cubicBezTo>
                  <a:pt x="307352" y="0"/>
                  <a:pt x="317220" y="2896"/>
                  <a:pt x="321573" y="16508"/>
                </a:cubicBezTo>
                <a:cubicBezTo>
                  <a:pt x="325926" y="30121"/>
                  <a:pt x="339567" y="82542"/>
                  <a:pt x="363366" y="98181"/>
                </a:cubicBezTo>
                <a:cubicBezTo>
                  <a:pt x="382231" y="110345"/>
                  <a:pt x="416768" y="106580"/>
                  <a:pt x="416768" y="106580"/>
                </a:cubicBezTo>
                <a:cubicBezTo>
                  <a:pt x="1056431" y="106580"/>
                  <a:pt x="1056431" y="106580"/>
                  <a:pt x="1056431" y="106580"/>
                </a:cubicBezTo>
                <a:cubicBezTo>
                  <a:pt x="1056431" y="106580"/>
                  <a:pt x="1080229" y="107739"/>
                  <a:pt x="1095902" y="87755"/>
                </a:cubicBezTo>
                <a:cubicBezTo>
                  <a:pt x="1111574" y="68061"/>
                  <a:pt x="1130439" y="9847"/>
                  <a:pt x="1130439" y="9847"/>
                </a:cubicBezTo>
                <a:cubicBezTo>
                  <a:pt x="1130439" y="9847"/>
                  <a:pt x="1133051" y="579"/>
                  <a:pt x="1147562" y="579"/>
                </a:cubicBezTo>
                <a:cubicBezTo>
                  <a:pt x="1162364" y="579"/>
                  <a:pt x="1255237" y="579"/>
                  <a:pt x="1262202" y="579"/>
                </a:cubicBezTo>
                <a:cubicBezTo>
                  <a:pt x="1265395" y="579"/>
                  <a:pt x="1344337" y="15060"/>
                  <a:pt x="1389032" y="62558"/>
                </a:cubicBezTo>
                <a:cubicBezTo>
                  <a:pt x="1411089" y="86017"/>
                  <a:pt x="1431115" y="114400"/>
                  <a:pt x="1440112" y="140466"/>
                </a:cubicBezTo>
                <a:cubicBezTo>
                  <a:pt x="1451431" y="172324"/>
                  <a:pt x="1452882" y="200128"/>
                  <a:pt x="1452882" y="200128"/>
                </a:cubicBezTo>
                <a:cubicBezTo>
                  <a:pt x="1452882" y="2893886"/>
                  <a:pt x="1452882" y="2893886"/>
                  <a:pt x="1452882" y="2893886"/>
                </a:cubicBezTo>
                <a:cubicBezTo>
                  <a:pt x="1452882" y="2893886"/>
                  <a:pt x="1443305" y="2974690"/>
                  <a:pt x="1400061" y="3015816"/>
                </a:cubicBezTo>
                <a:cubicBezTo>
                  <a:pt x="1373360" y="3041302"/>
                  <a:pt x="1353334" y="3058100"/>
                  <a:pt x="1327794" y="3069396"/>
                </a:cubicBezTo>
                <a:cubicBezTo>
                  <a:pt x="1287742" y="3087352"/>
                  <a:pt x="1250013" y="3088800"/>
                  <a:pt x="1250013" y="3088800"/>
                </a:cubicBezTo>
                <a:cubicBezTo>
                  <a:pt x="195904" y="3088800"/>
                  <a:pt x="195904" y="3088800"/>
                  <a:pt x="195904" y="3088800"/>
                </a:cubicBezTo>
                <a:cubicBezTo>
                  <a:pt x="195904" y="3088800"/>
                  <a:pt x="157013" y="3084456"/>
                  <a:pt x="120445" y="3067368"/>
                </a:cubicBezTo>
                <a:cubicBezTo>
                  <a:pt x="85908" y="3051439"/>
                  <a:pt x="72267" y="3034641"/>
                  <a:pt x="48178" y="3008865"/>
                </a:cubicBezTo>
                <a:cubicBezTo>
                  <a:pt x="581" y="2957602"/>
                  <a:pt x="0" y="2877957"/>
                  <a:pt x="0" y="2877957"/>
                </a:cubicBezTo>
                <a:lnTo>
                  <a:pt x="871" y="204472"/>
                </a:lnTo>
                <a:cubicBezTo>
                  <a:pt x="871" y="204472"/>
                  <a:pt x="1161" y="167111"/>
                  <a:pt x="17704" y="126854"/>
                </a:cubicBezTo>
                <a:cubicBezTo>
                  <a:pt x="27572" y="102815"/>
                  <a:pt x="49049" y="78198"/>
                  <a:pt x="68784" y="58503"/>
                </a:cubicBezTo>
                <a:cubicBezTo>
                  <a:pt x="117252" y="9268"/>
                  <a:pt x="202870" y="0"/>
                  <a:pt x="202870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22F74907-9901-41D8-B02E-D5156ACAC59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CD76F14-B7C1-4783-A9BB-4763BFA8875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2EEBB07D-0B9A-4E6E-8341-D43B950E589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317019" y="1810291"/>
            <a:ext cx="1452882" cy="3088800"/>
          </a:xfrm>
          <a:custGeom>
            <a:avLst/>
            <a:gdLst>
              <a:gd name="connsiteX0" fmla="*/ 202870 w 1452882"/>
              <a:gd name="connsiteY0" fmla="*/ 0 h 3088800"/>
              <a:gd name="connsiteX1" fmla="*/ 307352 w 1452882"/>
              <a:gd name="connsiteY1" fmla="*/ 0 h 3088800"/>
              <a:gd name="connsiteX2" fmla="*/ 321573 w 1452882"/>
              <a:gd name="connsiteY2" fmla="*/ 16508 h 3088800"/>
              <a:gd name="connsiteX3" fmla="*/ 363366 w 1452882"/>
              <a:gd name="connsiteY3" fmla="*/ 98181 h 3088800"/>
              <a:gd name="connsiteX4" fmla="*/ 416768 w 1452882"/>
              <a:gd name="connsiteY4" fmla="*/ 106580 h 3088800"/>
              <a:gd name="connsiteX5" fmla="*/ 1056431 w 1452882"/>
              <a:gd name="connsiteY5" fmla="*/ 106580 h 3088800"/>
              <a:gd name="connsiteX6" fmla="*/ 1095902 w 1452882"/>
              <a:gd name="connsiteY6" fmla="*/ 87755 h 3088800"/>
              <a:gd name="connsiteX7" fmla="*/ 1130439 w 1452882"/>
              <a:gd name="connsiteY7" fmla="*/ 9847 h 3088800"/>
              <a:gd name="connsiteX8" fmla="*/ 1147562 w 1452882"/>
              <a:gd name="connsiteY8" fmla="*/ 579 h 3088800"/>
              <a:gd name="connsiteX9" fmla="*/ 1262202 w 1452882"/>
              <a:gd name="connsiteY9" fmla="*/ 579 h 3088800"/>
              <a:gd name="connsiteX10" fmla="*/ 1389032 w 1452882"/>
              <a:gd name="connsiteY10" fmla="*/ 62558 h 3088800"/>
              <a:gd name="connsiteX11" fmla="*/ 1440112 w 1452882"/>
              <a:gd name="connsiteY11" fmla="*/ 140466 h 3088800"/>
              <a:gd name="connsiteX12" fmla="*/ 1452882 w 1452882"/>
              <a:gd name="connsiteY12" fmla="*/ 200128 h 3088800"/>
              <a:gd name="connsiteX13" fmla="*/ 1452882 w 1452882"/>
              <a:gd name="connsiteY13" fmla="*/ 2893886 h 3088800"/>
              <a:gd name="connsiteX14" fmla="*/ 1400061 w 1452882"/>
              <a:gd name="connsiteY14" fmla="*/ 3015816 h 3088800"/>
              <a:gd name="connsiteX15" fmla="*/ 1327794 w 1452882"/>
              <a:gd name="connsiteY15" fmla="*/ 3069396 h 3088800"/>
              <a:gd name="connsiteX16" fmla="*/ 1250013 w 1452882"/>
              <a:gd name="connsiteY16" fmla="*/ 3088800 h 3088800"/>
              <a:gd name="connsiteX17" fmla="*/ 195904 w 1452882"/>
              <a:gd name="connsiteY17" fmla="*/ 3088800 h 3088800"/>
              <a:gd name="connsiteX18" fmla="*/ 120445 w 1452882"/>
              <a:gd name="connsiteY18" fmla="*/ 3067368 h 3088800"/>
              <a:gd name="connsiteX19" fmla="*/ 48178 w 1452882"/>
              <a:gd name="connsiteY19" fmla="*/ 3008865 h 3088800"/>
              <a:gd name="connsiteX20" fmla="*/ 0 w 1452882"/>
              <a:gd name="connsiteY20" fmla="*/ 2877957 h 3088800"/>
              <a:gd name="connsiteX21" fmla="*/ 871 w 1452882"/>
              <a:gd name="connsiteY21" fmla="*/ 204472 h 3088800"/>
              <a:gd name="connsiteX22" fmla="*/ 17704 w 1452882"/>
              <a:gd name="connsiteY22" fmla="*/ 126854 h 3088800"/>
              <a:gd name="connsiteX23" fmla="*/ 68784 w 1452882"/>
              <a:gd name="connsiteY23" fmla="*/ 58503 h 3088800"/>
              <a:gd name="connsiteX24" fmla="*/ 202870 w 1452882"/>
              <a:gd name="connsiteY24" fmla="*/ 0 h 30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52882" h="3088800">
                <a:moveTo>
                  <a:pt x="202870" y="0"/>
                </a:moveTo>
                <a:cubicBezTo>
                  <a:pt x="307352" y="0"/>
                  <a:pt x="307352" y="0"/>
                  <a:pt x="307352" y="0"/>
                </a:cubicBezTo>
                <a:cubicBezTo>
                  <a:pt x="307352" y="0"/>
                  <a:pt x="317220" y="2896"/>
                  <a:pt x="321573" y="16508"/>
                </a:cubicBezTo>
                <a:cubicBezTo>
                  <a:pt x="325926" y="30121"/>
                  <a:pt x="339567" y="82542"/>
                  <a:pt x="363366" y="98181"/>
                </a:cubicBezTo>
                <a:cubicBezTo>
                  <a:pt x="382231" y="110345"/>
                  <a:pt x="416768" y="106580"/>
                  <a:pt x="416768" y="106580"/>
                </a:cubicBezTo>
                <a:cubicBezTo>
                  <a:pt x="1056431" y="106580"/>
                  <a:pt x="1056431" y="106580"/>
                  <a:pt x="1056431" y="106580"/>
                </a:cubicBezTo>
                <a:cubicBezTo>
                  <a:pt x="1056431" y="106580"/>
                  <a:pt x="1080229" y="107739"/>
                  <a:pt x="1095902" y="87755"/>
                </a:cubicBezTo>
                <a:cubicBezTo>
                  <a:pt x="1111574" y="68061"/>
                  <a:pt x="1130439" y="9847"/>
                  <a:pt x="1130439" y="9847"/>
                </a:cubicBezTo>
                <a:cubicBezTo>
                  <a:pt x="1130439" y="9847"/>
                  <a:pt x="1133051" y="579"/>
                  <a:pt x="1147562" y="579"/>
                </a:cubicBezTo>
                <a:cubicBezTo>
                  <a:pt x="1162364" y="579"/>
                  <a:pt x="1255237" y="579"/>
                  <a:pt x="1262202" y="579"/>
                </a:cubicBezTo>
                <a:cubicBezTo>
                  <a:pt x="1265395" y="579"/>
                  <a:pt x="1344337" y="15060"/>
                  <a:pt x="1389032" y="62558"/>
                </a:cubicBezTo>
                <a:cubicBezTo>
                  <a:pt x="1411089" y="86017"/>
                  <a:pt x="1431115" y="114400"/>
                  <a:pt x="1440112" y="140466"/>
                </a:cubicBezTo>
                <a:cubicBezTo>
                  <a:pt x="1451431" y="172324"/>
                  <a:pt x="1452882" y="200128"/>
                  <a:pt x="1452882" y="200128"/>
                </a:cubicBezTo>
                <a:cubicBezTo>
                  <a:pt x="1452882" y="2893886"/>
                  <a:pt x="1452882" y="2893886"/>
                  <a:pt x="1452882" y="2893886"/>
                </a:cubicBezTo>
                <a:cubicBezTo>
                  <a:pt x="1452882" y="2893886"/>
                  <a:pt x="1443305" y="2974690"/>
                  <a:pt x="1400061" y="3015816"/>
                </a:cubicBezTo>
                <a:cubicBezTo>
                  <a:pt x="1373360" y="3041302"/>
                  <a:pt x="1353334" y="3058100"/>
                  <a:pt x="1327794" y="3069396"/>
                </a:cubicBezTo>
                <a:cubicBezTo>
                  <a:pt x="1287742" y="3087352"/>
                  <a:pt x="1250013" y="3088800"/>
                  <a:pt x="1250013" y="3088800"/>
                </a:cubicBezTo>
                <a:cubicBezTo>
                  <a:pt x="195904" y="3088800"/>
                  <a:pt x="195904" y="3088800"/>
                  <a:pt x="195904" y="3088800"/>
                </a:cubicBezTo>
                <a:cubicBezTo>
                  <a:pt x="195904" y="3088800"/>
                  <a:pt x="157013" y="3084456"/>
                  <a:pt x="120445" y="3067368"/>
                </a:cubicBezTo>
                <a:cubicBezTo>
                  <a:pt x="85908" y="3051439"/>
                  <a:pt x="72267" y="3034641"/>
                  <a:pt x="48178" y="3008865"/>
                </a:cubicBezTo>
                <a:cubicBezTo>
                  <a:pt x="581" y="2957602"/>
                  <a:pt x="0" y="2877957"/>
                  <a:pt x="0" y="2877957"/>
                </a:cubicBezTo>
                <a:lnTo>
                  <a:pt x="871" y="204472"/>
                </a:lnTo>
                <a:cubicBezTo>
                  <a:pt x="871" y="204472"/>
                  <a:pt x="1161" y="167111"/>
                  <a:pt x="17704" y="126854"/>
                </a:cubicBezTo>
                <a:cubicBezTo>
                  <a:pt x="27572" y="102815"/>
                  <a:pt x="49049" y="78198"/>
                  <a:pt x="68784" y="58503"/>
                </a:cubicBezTo>
                <a:cubicBezTo>
                  <a:pt x="117252" y="9268"/>
                  <a:pt x="202870" y="0"/>
                  <a:pt x="202870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2681D62F-4793-4C2E-8783-7DAF67F9AF3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80359" y="1810291"/>
            <a:ext cx="1452882" cy="3088800"/>
          </a:xfrm>
          <a:custGeom>
            <a:avLst/>
            <a:gdLst>
              <a:gd name="connsiteX0" fmla="*/ 202870 w 1452882"/>
              <a:gd name="connsiteY0" fmla="*/ 0 h 3088800"/>
              <a:gd name="connsiteX1" fmla="*/ 307352 w 1452882"/>
              <a:gd name="connsiteY1" fmla="*/ 0 h 3088800"/>
              <a:gd name="connsiteX2" fmla="*/ 321573 w 1452882"/>
              <a:gd name="connsiteY2" fmla="*/ 16508 h 3088800"/>
              <a:gd name="connsiteX3" fmla="*/ 363366 w 1452882"/>
              <a:gd name="connsiteY3" fmla="*/ 98181 h 3088800"/>
              <a:gd name="connsiteX4" fmla="*/ 416768 w 1452882"/>
              <a:gd name="connsiteY4" fmla="*/ 106580 h 3088800"/>
              <a:gd name="connsiteX5" fmla="*/ 1056431 w 1452882"/>
              <a:gd name="connsiteY5" fmla="*/ 106580 h 3088800"/>
              <a:gd name="connsiteX6" fmla="*/ 1095902 w 1452882"/>
              <a:gd name="connsiteY6" fmla="*/ 87755 h 3088800"/>
              <a:gd name="connsiteX7" fmla="*/ 1130439 w 1452882"/>
              <a:gd name="connsiteY7" fmla="*/ 9847 h 3088800"/>
              <a:gd name="connsiteX8" fmla="*/ 1147562 w 1452882"/>
              <a:gd name="connsiteY8" fmla="*/ 579 h 3088800"/>
              <a:gd name="connsiteX9" fmla="*/ 1262202 w 1452882"/>
              <a:gd name="connsiteY9" fmla="*/ 579 h 3088800"/>
              <a:gd name="connsiteX10" fmla="*/ 1389032 w 1452882"/>
              <a:gd name="connsiteY10" fmla="*/ 62558 h 3088800"/>
              <a:gd name="connsiteX11" fmla="*/ 1440112 w 1452882"/>
              <a:gd name="connsiteY11" fmla="*/ 140466 h 3088800"/>
              <a:gd name="connsiteX12" fmla="*/ 1452882 w 1452882"/>
              <a:gd name="connsiteY12" fmla="*/ 200128 h 3088800"/>
              <a:gd name="connsiteX13" fmla="*/ 1452882 w 1452882"/>
              <a:gd name="connsiteY13" fmla="*/ 2893886 h 3088800"/>
              <a:gd name="connsiteX14" fmla="*/ 1400061 w 1452882"/>
              <a:gd name="connsiteY14" fmla="*/ 3015816 h 3088800"/>
              <a:gd name="connsiteX15" fmla="*/ 1327794 w 1452882"/>
              <a:gd name="connsiteY15" fmla="*/ 3069396 h 3088800"/>
              <a:gd name="connsiteX16" fmla="*/ 1250013 w 1452882"/>
              <a:gd name="connsiteY16" fmla="*/ 3088800 h 3088800"/>
              <a:gd name="connsiteX17" fmla="*/ 195904 w 1452882"/>
              <a:gd name="connsiteY17" fmla="*/ 3088800 h 3088800"/>
              <a:gd name="connsiteX18" fmla="*/ 120445 w 1452882"/>
              <a:gd name="connsiteY18" fmla="*/ 3067368 h 3088800"/>
              <a:gd name="connsiteX19" fmla="*/ 48178 w 1452882"/>
              <a:gd name="connsiteY19" fmla="*/ 3008865 h 3088800"/>
              <a:gd name="connsiteX20" fmla="*/ 0 w 1452882"/>
              <a:gd name="connsiteY20" fmla="*/ 2877957 h 3088800"/>
              <a:gd name="connsiteX21" fmla="*/ 871 w 1452882"/>
              <a:gd name="connsiteY21" fmla="*/ 204472 h 3088800"/>
              <a:gd name="connsiteX22" fmla="*/ 17704 w 1452882"/>
              <a:gd name="connsiteY22" fmla="*/ 126854 h 3088800"/>
              <a:gd name="connsiteX23" fmla="*/ 68784 w 1452882"/>
              <a:gd name="connsiteY23" fmla="*/ 58503 h 3088800"/>
              <a:gd name="connsiteX24" fmla="*/ 202870 w 1452882"/>
              <a:gd name="connsiteY24" fmla="*/ 0 h 30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52882" h="3088800">
                <a:moveTo>
                  <a:pt x="202870" y="0"/>
                </a:moveTo>
                <a:cubicBezTo>
                  <a:pt x="307352" y="0"/>
                  <a:pt x="307352" y="0"/>
                  <a:pt x="307352" y="0"/>
                </a:cubicBezTo>
                <a:cubicBezTo>
                  <a:pt x="307352" y="0"/>
                  <a:pt x="317220" y="2896"/>
                  <a:pt x="321573" y="16508"/>
                </a:cubicBezTo>
                <a:cubicBezTo>
                  <a:pt x="325926" y="30121"/>
                  <a:pt x="339567" y="82542"/>
                  <a:pt x="363366" y="98181"/>
                </a:cubicBezTo>
                <a:cubicBezTo>
                  <a:pt x="382231" y="110345"/>
                  <a:pt x="416768" y="106580"/>
                  <a:pt x="416768" y="106580"/>
                </a:cubicBezTo>
                <a:cubicBezTo>
                  <a:pt x="1056431" y="106580"/>
                  <a:pt x="1056431" y="106580"/>
                  <a:pt x="1056431" y="106580"/>
                </a:cubicBezTo>
                <a:cubicBezTo>
                  <a:pt x="1056431" y="106580"/>
                  <a:pt x="1080229" y="107739"/>
                  <a:pt x="1095902" y="87755"/>
                </a:cubicBezTo>
                <a:cubicBezTo>
                  <a:pt x="1111574" y="68061"/>
                  <a:pt x="1130439" y="9847"/>
                  <a:pt x="1130439" y="9847"/>
                </a:cubicBezTo>
                <a:cubicBezTo>
                  <a:pt x="1130439" y="9847"/>
                  <a:pt x="1133051" y="579"/>
                  <a:pt x="1147562" y="579"/>
                </a:cubicBezTo>
                <a:cubicBezTo>
                  <a:pt x="1162364" y="579"/>
                  <a:pt x="1255237" y="579"/>
                  <a:pt x="1262202" y="579"/>
                </a:cubicBezTo>
                <a:cubicBezTo>
                  <a:pt x="1265395" y="579"/>
                  <a:pt x="1344337" y="15060"/>
                  <a:pt x="1389032" y="62558"/>
                </a:cubicBezTo>
                <a:cubicBezTo>
                  <a:pt x="1411089" y="86017"/>
                  <a:pt x="1431115" y="114400"/>
                  <a:pt x="1440112" y="140466"/>
                </a:cubicBezTo>
                <a:cubicBezTo>
                  <a:pt x="1451431" y="172324"/>
                  <a:pt x="1452882" y="200128"/>
                  <a:pt x="1452882" y="200128"/>
                </a:cubicBezTo>
                <a:cubicBezTo>
                  <a:pt x="1452882" y="2893886"/>
                  <a:pt x="1452882" y="2893886"/>
                  <a:pt x="1452882" y="2893886"/>
                </a:cubicBezTo>
                <a:cubicBezTo>
                  <a:pt x="1452882" y="2893886"/>
                  <a:pt x="1443305" y="2974690"/>
                  <a:pt x="1400061" y="3015816"/>
                </a:cubicBezTo>
                <a:cubicBezTo>
                  <a:pt x="1373360" y="3041302"/>
                  <a:pt x="1353334" y="3058100"/>
                  <a:pt x="1327794" y="3069396"/>
                </a:cubicBezTo>
                <a:cubicBezTo>
                  <a:pt x="1287742" y="3087352"/>
                  <a:pt x="1250013" y="3088800"/>
                  <a:pt x="1250013" y="3088800"/>
                </a:cubicBezTo>
                <a:cubicBezTo>
                  <a:pt x="195904" y="3088800"/>
                  <a:pt x="195904" y="3088800"/>
                  <a:pt x="195904" y="3088800"/>
                </a:cubicBezTo>
                <a:cubicBezTo>
                  <a:pt x="195904" y="3088800"/>
                  <a:pt x="157013" y="3084456"/>
                  <a:pt x="120445" y="3067368"/>
                </a:cubicBezTo>
                <a:cubicBezTo>
                  <a:pt x="85908" y="3051439"/>
                  <a:pt x="72267" y="3034641"/>
                  <a:pt x="48178" y="3008865"/>
                </a:cubicBezTo>
                <a:cubicBezTo>
                  <a:pt x="581" y="2957602"/>
                  <a:pt x="0" y="2877957"/>
                  <a:pt x="0" y="2877957"/>
                </a:cubicBezTo>
                <a:lnTo>
                  <a:pt x="871" y="204472"/>
                </a:lnTo>
                <a:cubicBezTo>
                  <a:pt x="871" y="204472"/>
                  <a:pt x="1161" y="167111"/>
                  <a:pt x="17704" y="126854"/>
                </a:cubicBezTo>
                <a:cubicBezTo>
                  <a:pt x="27572" y="102815"/>
                  <a:pt x="49049" y="78198"/>
                  <a:pt x="68784" y="58503"/>
                </a:cubicBezTo>
                <a:cubicBezTo>
                  <a:pt x="117252" y="9268"/>
                  <a:pt x="202870" y="0"/>
                  <a:pt x="202870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149916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, Content and iPho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0A5685-ADC9-4197-AAEB-665323328B34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3689"/>
            <a:ext cx="5056675" cy="3329423"/>
          </a:xfrm>
        </p:spPr>
        <p:txBody>
          <a:bodyPr spcCol="54000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231F20"/>
                </a:solidFill>
              </a:rPr>
              <a:t>Asurion_Confidential</a:t>
            </a:r>
            <a:endParaRPr>
              <a:solidFill>
                <a:srgbClr val="231F2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>
                <a:solidFill>
                  <a:srgbClr val="231F20"/>
                </a:solidFill>
              </a:rPr>
              <a:pPr/>
              <a:t>‹#›</a:t>
            </a:fld>
            <a:endParaRPr>
              <a:solidFill>
                <a:srgbClr val="231F20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639103-1054-48CB-9C4A-BC221A9D489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0063" y="1481655"/>
            <a:ext cx="5056675" cy="786765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 descr="A picture containing monitor&#10;&#10;Description automatically generated">
            <a:extLst>
              <a:ext uri="{FF2B5EF4-FFF2-40B4-BE49-F238E27FC236}">
                <a16:creationId xmlns:a16="http://schemas.microsoft.com/office/drawing/2014/main" id="{56C82B6E-CB3C-472B-826E-0AF65C1329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8825" y="-410658"/>
            <a:ext cx="5009044" cy="7670523"/>
          </a:xfrm>
          <a:prstGeom prst="rect">
            <a:avLst/>
          </a:prstGeom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5BB1AFEC-6A42-4E41-9AB3-8AA1E87ADC0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907261" y="791536"/>
            <a:ext cx="2456870" cy="5227200"/>
          </a:xfrm>
          <a:custGeom>
            <a:avLst/>
            <a:gdLst>
              <a:gd name="connsiteX0" fmla="*/ 202870 w 1452882"/>
              <a:gd name="connsiteY0" fmla="*/ 0 h 3088800"/>
              <a:gd name="connsiteX1" fmla="*/ 307352 w 1452882"/>
              <a:gd name="connsiteY1" fmla="*/ 0 h 3088800"/>
              <a:gd name="connsiteX2" fmla="*/ 321573 w 1452882"/>
              <a:gd name="connsiteY2" fmla="*/ 16508 h 3088800"/>
              <a:gd name="connsiteX3" fmla="*/ 363366 w 1452882"/>
              <a:gd name="connsiteY3" fmla="*/ 98181 h 3088800"/>
              <a:gd name="connsiteX4" fmla="*/ 416768 w 1452882"/>
              <a:gd name="connsiteY4" fmla="*/ 106580 h 3088800"/>
              <a:gd name="connsiteX5" fmla="*/ 1056431 w 1452882"/>
              <a:gd name="connsiteY5" fmla="*/ 106580 h 3088800"/>
              <a:gd name="connsiteX6" fmla="*/ 1095902 w 1452882"/>
              <a:gd name="connsiteY6" fmla="*/ 87755 h 3088800"/>
              <a:gd name="connsiteX7" fmla="*/ 1130439 w 1452882"/>
              <a:gd name="connsiteY7" fmla="*/ 9847 h 3088800"/>
              <a:gd name="connsiteX8" fmla="*/ 1147562 w 1452882"/>
              <a:gd name="connsiteY8" fmla="*/ 579 h 3088800"/>
              <a:gd name="connsiteX9" fmla="*/ 1262202 w 1452882"/>
              <a:gd name="connsiteY9" fmla="*/ 579 h 3088800"/>
              <a:gd name="connsiteX10" fmla="*/ 1389032 w 1452882"/>
              <a:gd name="connsiteY10" fmla="*/ 62558 h 3088800"/>
              <a:gd name="connsiteX11" fmla="*/ 1440112 w 1452882"/>
              <a:gd name="connsiteY11" fmla="*/ 140466 h 3088800"/>
              <a:gd name="connsiteX12" fmla="*/ 1452882 w 1452882"/>
              <a:gd name="connsiteY12" fmla="*/ 200128 h 3088800"/>
              <a:gd name="connsiteX13" fmla="*/ 1452882 w 1452882"/>
              <a:gd name="connsiteY13" fmla="*/ 2893886 h 3088800"/>
              <a:gd name="connsiteX14" fmla="*/ 1400061 w 1452882"/>
              <a:gd name="connsiteY14" fmla="*/ 3015816 h 3088800"/>
              <a:gd name="connsiteX15" fmla="*/ 1327794 w 1452882"/>
              <a:gd name="connsiteY15" fmla="*/ 3069396 h 3088800"/>
              <a:gd name="connsiteX16" fmla="*/ 1250013 w 1452882"/>
              <a:gd name="connsiteY16" fmla="*/ 3088800 h 3088800"/>
              <a:gd name="connsiteX17" fmla="*/ 195904 w 1452882"/>
              <a:gd name="connsiteY17" fmla="*/ 3088800 h 3088800"/>
              <a:gd name="connsiteX18" fmla="*/ 120445 w 1452882"/>
              <a:gd name="connsiteY18" fmla="*/ 3067368 h 3088800"/>
              <a:gd name="connsiteX19" fmla="*/ 48178 w 1452882"/>
              <a:gd name="connsiteY19" fmla="*/ 3008865 h 3088800"/>
              <a:gd name="connsiteX20" fmla="*/ 0 w 1452882"/>
              <a:gd name="connsiteY20" fmla="*/ 2877957 h 3088800"/>
              <a:gd name="connsiteX21" fmla="*/ 871 w 1452882"/>
              <a:gd name="connsiteY21" fmla="*/ 204472 h 3088800"/>
              <a:gd name="connsiteX22" fmla="*/ 17704 w 1452882"/>
              <a:gd name="connsiteY22" fmla="*/ 126854 h 3088800"/>
              <a:gd name="connsiteX23" fmla="*/ 68784 w 1452882"/>
              <a:gd name="connsiteY23" fmla="*/ 58503 h 3088800"/>
              <a:gd name="connsiteX24" fmla="*/ 202870 w 1452882"/>
              <a:gd name="connsiteY24" fmla="*/ 0 h 30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52882" h="3088800">
                <a:moveTo>
                  <a:pt x="202870" y="0"/>
                </a:moveTo>
                <a:cubicBezTo>
                  <a:pt x="307352" y="0"/>
                  <a:pt x="307352" y="0"/>
                  <a:pt x="307352" y="0"/>
                </a:cubicBezTo>
                <a:cubicBezTo>
                  <a:pt x="307352" y="0"/>
                  <a:pt x="317220" y="2896"/>
                  <a:pt x="321573" y="16508"/>
                </a:cubicBezTo>
                <a:cubicBezTo>
                  <a:pt x="325926" y="30121"/>
                  <a:pt x="339567" y="82542"/>
                  <a:pt x="363366" y="98181"/>
                </a:cubicBezTo>
                <a:cubicBezTo>
                  <a:pt x="382231" y="110345"/>
                  <a:pt x="416768" y="106580"/>
                  <a:pt x="416768" y="106580"/>
                </a:cubicBezTo>
                <a:cubicBezTo>
                  <a:pt x="1056431" y="106580"/>
                  <a:pt x="1056431" y="106580"/>
                  <a:pt x="1056431" y="106580"/>
                </a:cubicBezTo>
                <a:cubicBezTo>
                  <a:pt x="1056431" y="106580"/>
                  <a:pt x="1080229" y="107739"/>
                  <a:pt x="1095902" y="87755"/>
                </a:cubicBezTo>
                <a:cubicBezTo>
                  <a:pt x="1111574" y="68061"/>
                  <a:pt x="1130439" y="9847"/>
                  <a:pt x="1130439" y="9847"/>
                </a:cubicBezTo>
                <a:cubicBezTo>
                  <a:pt x="1130439" y="9847"/>
                  <a:pt x="1133051" y="579"/>
                  <a:pt x="1147562" y="579"/>
                </a:cubicBezTo>
                <a:cubicBezTo>
                  <a:pt x="1162364" y="579"/>
                  <a:pt x="1255237" y="579"/>
                  <a:pt x="1262202" y="579"/>
                </a:cubicBezTo>
                <a:cubicBezTo>
                  <a:pt x="1265395" y="579"/>
                  <a:pt x="1344337" y="15060"/>
                  <a:pt x="1389032" y="62558"/>
                </a:cubicBezTo>
                <a:cubicBezTo>
                  <a:pt x="1411089" y="86017"/>
                  <a:pt x="1431115" y="114400"/>
                  <a:pt x="1440112" y="140466"/>
                </a:cubicBezTo>
                <a:cubicBezTo>
                  <a:pt x="1451431" y="172324"/>
                  <a:pt x="1452882" y="200128"/>
                  <a:pt x="1452882" y="200128"/>
                </a:cubicBezTo>
                <a:cubicBezTo>
                  <a:pt x="1452882" y="2893886"/>
                  <a:pt x="1452882" y="2893886"/>
                  <a:pt x="1452882" y="2893886"/>
                </a:cubicBezTo>
                <a:cubicBezTo>
                  <a:pt x="1452882" y="2893886"/>
                  <a:pt x="1443305" y="2974690"/>
                  <a:pt x="1400061" y="3015816"/>
                </a:cubicBezTo>
                <a:cubicBezTo>
                  <a:pt x="1373360" y="3041302"/>
                  <a:pt x="1353334" y="3058100"/>
                  <a:pt x="1327794" y="3069396"/>
                </a:cubicBezTo>
                <a:cubicBezTo>
                  <a:pt x="1287742" y="3087352"/>
                  <a:pt x="1250013" y="3088800"/>
                  <a:pt x="1250013" y="3088800"/>
                </a:cubicBezTo>
                <a:cubicBezTo>
                  <a:pt x="195904" y="3088800"/>
                  <a:pt x="195904" y="3088800"/>
                  <a:pt x="195904" y="3088800"/>
                </a:cubicBezTo>
                <a:cubicBezTo>
                  <a:pt x="195904" y="3088800"/>
                  <a:pt x="157013" y="3084456"/>
                  <a:pt x="120445" y="3067368"/>
                </a:cubicBezTo>
                <a:cubicBezTo>
                  <a:pt x="85908" y="3051439"/>
                  <a:pt x="72267" y="3034641"/>
                  <a:pt x="48178" y="3008865"/>
                </a:cubicBezTo>
                <a:cubicBezTo>
                  <a:pt x="581" y="2957602"/>
                  <a:pt x="0" y="2877957"/>
                  <a:pt x="0" y="2877957"/>
                </a:cubicBezTo>
                <a:lnTo>
                  <a:pt x="871" y="204472"/>
                </a:lnTo>
                <a:cubicBezTo>
                  <a:pt x="871" y="204472"/>
                  <a:pt x="1161" y="167111"/>
                  <a:pt x="17704" y="126854"/>
                </a:cubicBezTo>
                <a:cubicBezTo>
                  <a:pt x="27572" y="102815"/>
                  <a:pt x="49049" y="78198"/>
                  <a:pt x="68784" y="58503"/>
                </a:cubicBezTo>
                <a:cubicBezTo>
                  <a:pt x="117252" y="9268"/>
                  <a:pt x="202870" y="0"/>
                  <a:pt x="202870" y="0"/>
                </a:cubicBezTo>
                <a:close/>
              </a:path>
            </a:pathLst>
          </a:custGeom>
          <a:noFill/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087406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1698625"/>
            <a:ext cx="11191875" cy="4192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906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, Content and iPho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0A5685-ADC9-4197-AAEB-665323328B34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5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B1E377C-23FC-445F-9057-22E1F95A48B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80"/>
          <a:stretch/>
        </p:blipFill>
        <p:spPr>
          <a:xfrm>
            <a:off x="5837153" y="18049"/>
            <a:ext cx="6528348" cy="68399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3689"/>
            <a:ext cx="5056675" cy="3329423"/>
          </a:xfrm>
        </p:spPr>
        <p:txBody>
          <a:bodyPr spcCol="54000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231F20"/>
                </a:solidFill>
              </a:rPr>
              <a:t>Asurion_Confidential</a:t>
            </a:r>
            <a:endParaRPr>
              <a:solidFill>
                <a:srgbClr val="231F2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>
                <a:solidFill>
                  <a:srgbClr val="231F20"/>
                </a:solidFill>
              </a:rPr>
              <a:pPr/>
              <a:t>‹#›</a:t>
            </a:fld>
            <a:endParaRPr>
              <a:solidFill>
                <a:srgbClr val="231F20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639103-1054-48CB-9C4A-BC221A9D489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0063" y="1481655"/>
            <a:ext cx="5056675" cy="78676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5BB1AFEC-6A42-4E41-9AB3-8AA1E87ADC0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05554" y="872975"/>
            <a:ext cx="2456870" cy="5220000"/>
          </a:xfrm>
          <a:custGeom>
            <a:avLst/>
            <a:gdLst>
              <a:gd name="connsiteX0" fmla="*/ 202870 w 1452882"/>
              <a:gd name="connsiteY0" fmla="*/ 0 h 3088800"/>
              <a:gd name="connsiteX1" fmla="*/ 307352 w 1452882"/>
              <a:gd name="connsiteY1" fmla="*/ 0 h 3088800"/>
              <a:gd name="connsiteX2" fmla="*/ 321573 w 1452882"/>
              <a:gd name="connsiteY2" fmla="*/ 16508 h 3088800"/>
              <a:gd name="connsiteX3" fmla="*/ 363366 w 1452882"/>
              <a:gd name="connsiteY3" fmla="*/ 98181 h 3088800"/>
              <a:gd name="connsiteX4" fmla="*/ 416768 w 1452882"/>
              <a:gd name="connsiteY4" fmla="*/ 106580 h 3088800"/>
              <a:gd name="connsiteX5" fmla="*/ 1056431 w 1452882"/>
              <a:gd name="connsiteY5" fmla="*/ 106580 h 3088800"/>
              <a:gd name="connsiteX6" fmla="*/ 1095902 w 1452882"/>
              <a:gd name="connsiteY6" fmla="*/ 87755 h 3088800"/>
              <a:gd name="connsiteX7" fmla="*/ 1130439 w 1452882"/>
              <a:gd name="connsiteY7" fmla="*/ 9847 h 3088800"/>
              <a:gd name="connsiteX8" fmla="*/ 1147562 w 1452882"/>
              <a:gd name="connsiteY8" fmla="*/ 579 h 3088800"/>
              <a:gd name="connsiteX9" fmla="*/ 1262202 w 1452882"/>
              <a:gd name="connsiteY9" fmla="*/ 579 h 3088800"/>
              <a:gd name="connsiteX10" fmla="*/ 1389032 w 1452882"/>
              <a:gd name="connsiteY10" fmla="*/ 62558 h 3088800"/>
              <a:gd name="connsiteX11" fmla="*/ 1440112 w 1452882"/>
              <a:gd name="connsiteY11" fmla="*/ 140466 h 3088800"/>
              <a:gd name="connsiteX12" fmla="*/ 1452882 w 1452882"/>
              <a:gd name="connsiteY12" fmla="*/ 200128 h 3088800"/>
              <a:gd name="connsiteX13" fmla="*/ 1452882 w 1452882"/>
              <a:gd name="connsiteY13" fmla="*/ 2893886 h 3088800"/>
              <a:gd name="connsiteX14" fmla="*/ 1400061 w 1452882"/>
              <a:gd name="connsiteY14" fmla="*/ 3015816 h 3088800"/>
              <a:gd name="connsiteX15" fmla="*/ 1327794 w 1452882"/>
              <a:gd name="connsiteY15" fmla="*/ 3069396 h 3088800"/>
              <a:gd name="connsiteX16" fmla="*/ 1250013 w 1452882"/>
              <a:gd name="connsiteY16" fmla="*/ 3088800 h 3088800"/>
              <a:gd name="connsiteX17" fmla="*/ 195904 w 1452882"/>
              <a:gd name="connsiteY17" fmla="*/ 3088800 h 3088800"/>
              <a:gd name="connsiteX18" fmla="*/ 120445 w 1452882"/>
              <a:gd name="connsiteY18" fmla="*/ 3067368 h 3088800"/>
              <a:gd name="connsiteX19" fmla="*/ 48178 w 1452882"/>
              <a:gd name="connsiteY19" fmla="*/ 3008865 h 3088800"/>
              <a:gd name="connsiteX20" fmla="*/ 0 w 1452882"/>
              <a:gd name="connsiteY20" fmla="*/ 2877957 h 3088800"/>
              <a:gd name="connsiteX21" fmla="*/ 871 w 1452882"/>
              <a:gd name="connsiteY21" fmla="*/ 204472 h 3088800"/>
              <a:gd name="connsiteX22" fmla="*/ 17704 w 1452882"/>
              <a:gd name="connsiteY22" fmla="*/ 126854 h 3088800"/>
              <a:gd name="connsiteX23" fmla="*/ 68784 w 1452882"/>
              <a:gd name="connsiteY23" fmla="*/ 58503 h 3088800"/>
              <a:gd name="connsiteX24" fmla="*/ 202870 w 1452882"/>
              <a:gd name="connsiteY24" fmla="*/ 0 h 30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52882" h="3088800">
                <a:moveTo>
                  <a:pt x="202870" y="0"/>
                </a:moveTo>
                <a:cubicBezTo>
                  <a:pt x="307352" y="0"/>
                  <a:pt x="307352" y="0"/>
                  <a:pt x="307352" y="0"/>
                </a:cubicBezTo>
                <a:cubicBezTo>
                  <a:pt x="307352" y="0"/>
                  <a:pt x="317220" y="2896"/>
                  <a:pt x="321573" y="16508"/>
                </a:cubicBezTo>
                <a:cubicBezTo>
                  <a:pt x="325926" y="30121"/>
                  <a:pt x="339567" y="82542"/>
                  <a:pt x="363366" y="98181"/>
                </a:cubicBezTo>
                <a:cubicBezTo>
                  <a:pt x="382231" y="110345"/>
                  <a:pt x="416768" y="106580"/>
                  <a:pt x="416768" y="106580"/>
                </a:cubicBezTo>
                <a:cubicBezTo>
                  <a:pt x="1056431" y="106580"/>
                  <a:pt x="1056431" y="106580"/>
                  <a:pt x="1056431" y="106580"/>
                </a:cubicBezTo>
                <a:cubicBezTo>
                  <a:pt x="1056431" y="106580"/>
                  <a:pt x="1080229" y="107739"/>
                  <a:pt x="1095902" y="87755"/>
                </a:cubicBezTo>
                <a:cubicBezTo>
                  <a:pt x="1111574" y="68061"/>
                  <a:pt x="1130439" y="9847"/>
                  <a:pt x="1130439" y="9847"/>
                </a:cubicBezTo>
                <a:cubicBezTo>
                  <a:pt x="1130439" y="9847"/>
                  <a:pt x="1133051" y="579"/>
                  <a:pt x="1147562" y="579"/>
                </a:cubicBezTo>
                <a:cubicBezTo>
                  <a:pt x="1162364" y="579"/>
                  <a:pt x="1255237" y="579"/>
                  <a:pt x="1262202" y="579"/>
                </a:cubicBezTo>
                <a:cubicBezTo>
                  <a:pt x="1265395" y="579"/>
                  <a:pt x="1344337" y="15060"/>
                  <a:pt x="1389032" y="62558"/>
                </a:cubicBezTo>
                <a:cubicBezTo>
                  <a:pt x="1411089" y="86017"/>
                  <a:pt x="1431115" y="114400"/>
                  <a:pt x="1440112" y="140466"/>
                </a:cubicBezTo>
                <a:cubicBezTo>
                  <a:pt x="1451431" y="172324"/>
                  <a:pt x="1452882" y="200128"/>
                  <a:pt x="1452882" y="200128"/>
                </a:cubicBezTo>
                <a:cubicBezTo>
                  <a:pt x="1452882" y="2893886"/>
                  <a:pt x="1452882" y="2893886"/>
                  <a:pt x="1452882" y="2893886"/>
                </a:cubicBezTo>
                <a:cubicBezTo>
                  <a:pt x="1452882" y="2893886"/>
                  <a:pt x="1443305" y="2974690"/>
                  <a:pt x="1400061" y="3015816"/>
                </a:cubicBezTo>
                <a:cubicBezTo>
                  <a:pt x="1373360" y="3041302"/>
                  <a:pt x="1353334" y="3058100"/>
                  <a:pt x="1327794" y="3069396"/>
                </a:cubicBezTo>
                <a:cubicBezTo>
                  <a:pt x="1287742" y="3087352"/>
                  <a:pt x="1250013" y="3088800"/>
                  <a:pt x="1250013" y="3088800"/>
                </a:cubicBezTo>
                <a:cubicBezTo>
                  <a:pt x="195904" y="3088800"/>
                  <a:pt x="195904" y="3088800"/>
                  <a:pt x="195904" y="3088800"/>
                </a:cubicBezTo>
                <a:cubicBezTo>
                  <a:pt x="195904" y="3088800"/>
                  <a:pt x="157013" y="3084456"/>
                  <a:pt x="120445" y="3067368"/>
                </a:cubicBezTo>
                <a:cubicBezTo>
                  <a:pt x="85908" y="3051439"/>
                  <a:pt x="72267" y="3034641"/>
                  <a:pt x="48178" y="3008865"/>
                </a:cubicBezTo>
                <a:cubicBezTo>
                  <a:pt x="581" y="2957602"/>
                  <a:pt x="0" y="2877957"/>
                  <a:pt x="0" y="2877957"/>
                </a:cubicBezTo>
                <a:lnTo>
                  <a:pt x="871" y="204472"/>
                </a:lnTo>
                <a:cubicBezTo>
                  <a:pt x="871" y="204472"/>
                  <a:pt x="1161" y="167111"/>
                  <a:pt x="17704" y="126854"/>
                </a:cubicBezTo>
                <a:cubicBezTo>
                  <a:pt x="27572" y="102815"/>
                  <a:pt x="49049" y="78198"/>
                  <a:pt x="68784" y="58503"/>
                </a:cubicBezTo>
                <a:cubicBezTo>
                  <a:pt x="117252" y="9268"/>
                  <a:pt x="202870" y="0"/>
                  <a:pt x="202870" y="0"/>
                </a:cubicBezTo>
                <a:close/>
              </a:path>
            </a:pathLst>
          </a:custGeom>
          <a:noFill/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31925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rge Quote with Ima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9B9059A-11E4-6446-BCA3-0D004A818F5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59EB59-5BB5-46C4-96FD-D1649C3BDE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82A4FB-3DFD-41EC-92CF-1DD7104087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89870444-DC05-4334-BFD6-251E58C00D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8912" y="502920"/>
            <a:ext cx="5592445" cy="5378450"/>
          </a:xfrm>
        </p:spPr>
        <p:txBody>
          <a:bodyPr/>
          <a:lstStyle>
            <a:lvl1pPr marL="180975" indent="-169863">
              <a:lnSpc>
                <a:spcPct val="100000"/>
              </a:lnSpc>
              <a:tabLst/>
              <a:defRPr sz="3200" b="0"/>
            </a:lvl1pPr>
            <a:lvl2pPr marL="447675" indent="-279400">
              <a:lnSpc>
                <a:spcPct val="100000"/>
              </a:lnSpc>
              <a:spcBef>
                <a:spcPts val="4200"/>
              </a:spcBef>
              <a:buClr>
                <a:schemeClr val="tx1"/>
              </a:buClr>
              <a:buFont typeface="Arial" panose="020B0604020202020204" pitchFamily="34" charset="0"/>
              <a:buChar char="―"/>
              <a:tabLst/>
              <a:defRPr/>
            </a:lvl2pPr>
            <a:lvl3pPr marL="628650" indent="-176213">
              <a:defRPr/>
            </a:lvl3pPr>
            <a:lvl4pPr marL="804863" indent="-180975">
              <a:defRPr/>
            </a:lvl4pPr>
            <a:lvl5pPr marL="985838" indent="-180975">
              <a:defRPr/>
            </a:lvl5pPr>
          </a:lstStyle>
          <a:p>
            <a:pPr lvl="0"/>
            <a:r>
              <a:t>“Click to edit Master text style</a:t>
            </a:r>
          </a:p>
          <a:p>
            <a:pPr lvl="1"/>
            <a:r>
              <a:t>Second leve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B90A495-FDA8-6644-AF4B-A96C1AC806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61" y="6390186"/>
            <a:ext cx="918000" cy="332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4907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Quote with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D8020A8B-C6C0-D446-B3B4-3B71BF4A549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43650" y="0"/>
            <a:ext cx="58483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surion_Confidentia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2C061E27-6E5D-0F45-87C9-E8095C3CAE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8912" y="502920"/>
            <a:ext cx="5592445" cy="5378450"/>
          </a:xfrm>
        </p:spPr>
        <p:txBody>
          <a:bodyPr/>
          <a:lstStyle>
            <a:lvl1pPr marL="182880" indent="-173736">
              <a:lnSpc>
                <a:spcPct val="100000"/>
              </a:lnSpc>
              <a:tabLst/>
              <a:defRPr sz="3200" b="0"/>
            </a:lvl1pPr>
            <a:lvl2pPr marL="447675" indent="-279400">
              <a:lnSpc>
                <a:spcPct val="100000"/>
              </a:lnSpc>
              <a:spcBef>
                <a:spcPts val="4200"/>
              </a:spcBef>
              <a:buClr>
                <a:schemeClr val="tx1"/>
              </a:buClr>
              <a:buFont typeface="Arial" panose="020B0604020202020204" pitchFamily="34" charset="0"/>
              <a:buChar char="―"/>
              <a:tabLst/>
              <a:defRPr/>
            </a:lvl2pPr>
            <a:lvl3pPr marL="628650" indent="-176213">
              <a:defRPr/>
            </a:lvl3pPr>
            <a:lvl4pPr marL="804863" indent="-180975">
              <a:defRPr/>
            </a:lvl4pPr>
            <a:lvl5pPr marL="985838" indent="-180975">
              <a:defRPr/>
            </a:lvl5pPr>
          </a:lstStyle>
          <a:p>
            <a:pPr lvl="0"/>
            <a:r>
              <a:t>“Click to edit Master text style</a:t>
            </a:r>
          </a:p>
          <a:p>
            <a:pPr lvl="1"/>
            <a: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75721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Text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>
            <a:extLst>
              <a:ext uri="{FF2B5EF4-FFF2-40B4-BE49-F238E27FC236}">
                <a16:creationId xmlns:a16="http://schemas.microsoft.com/office/drawing/2014/main" id="{8DB64F27-9AE8-0B46-A470-371BD746B7B5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32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22F74907-9901-41D8-B02E-D5156ACAC59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surion_Confidential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CD76F14-B7C1-4783-A9BB-4763BFA8875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C3ACAB3-CA36-4966-8A1D-076772D39D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523840A8-30E6-8342-B7EF-D226048008E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0063" y="2281373"/>
            <a:ext cx="5095874" cy="923330"/>
          </a:xfrm>
        </p:spPr>
        <p:txBody>
          <a:bodyPr wrap="square" lIns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6000" b="0"/>
            </a:lvl1pPr>
          </a:lstStyle>
          <a:p>
            <a:pPr lvl="0"/>
            <a:r>
              <a:t>Click to edit</a:t>
            </a:r>
          </a:p>
        </p:txBody>
      </p:sp>
      <p:sp>
        <p:nvSpPr>
          <p:cNvPr id="106" name="Text Placeholder 4">
            <a:extLst>
              <a:ext uri="{FF2B5EF4-FFF2-40B4-BE49-F238E27FC236}">
                <a16:creationId xmlns:a16="http://schemas.microsoft.com/office/drawing/2014/main" id="{69BB6328-9600-6B44-B410-6228CDEF901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0064" y="3257439"/>
            <a:ext cx="5095874" cy="1445421"/>
          </a:xfrm>
        </p:spPr>
        <p:txBody>
          <a:bodyPr lIns="0"/>
          <a:lstStyle>
            <a:lvl1pPr algn="l">
              <a:lnSpc>
                <a:spcPct val="100000"/>
              </a:lnSpc>
              <a:spcBef>
                <a:spcPts val="300"/>
              </a:spcBef>
              <a:defRPr sz="18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82873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arge Text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>
            <a:extLst>
              <a:ext uri="{FF2B5EF4-FFF2-40B4-BE49-F238E27FC236}">
                <a16:creationId xmlns:a16="http://schemas.microsoft.com/office/drawing/2014/main" id="{8DB64F27-9AE8-0B46-A470-371BD746B7B5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32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22F74907-9901-41D8-B02E-D5156ACAC59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surion_Confidential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CD76F14-B7C1-4783-A9BB-4763BFA8875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3ACAB3-CA36-4966-8A1D-076772D39D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523840A8-30E6-8342-B7EF-D226048008E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96063" y="2125256"/>
            <a:ext cx="5095874" cy="923330"/>
          </a:xfrm>
        </p:spPr>
        <p:txBody>
          <a:bodyPr wrap="square" lIns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6000" b="0">
                <a:solidFill>
                  <a:schemeClr val="bg1"/>
                </a:solidFill>
              </a:defRPr>
            </a:lvl1pPr>
          </a:lstStyle>
          <a:p>
            <a:pPr lvl="0"/>
            <a:r>
              <a:t>Click to edit</a:t>
            </a:r>
          </a:p>
        </p:txBody>
      </p:sp>
      <p:sp>
        <p:nvSpPr>
          <p:cNvPr id="106" name="Text Placeholder 4">
            <a:extLst>
              <a:ext uri="{FF2B5EF4-FFF2-40B4-BE49-F238E27FC236}">
                <a16:creationId xmlns:a16="http://schemas.microsoft.com/office/drawing/2014/main" id="{69BB6328-9600-6B44-B410-6228CDEF901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596064" y="3101322"/>
            <a:ext cx="5095874" cy="1445421"/>
          </a:xfrm>
        </p:spPr>
        <p:txBody>
          <a:bodyPr lIns="0"/>
          <a:lstStyle>
            <a:lvl1pPr algn="l">
              <a:lnSpc>
                <a:spcPct val="100000"/>
              </a:lnSpc>
              <a:spcBef>
                <a:spcPts val="300"/>
              </a:spcBef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8261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rge Text N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2462A87A-469A-A743-8042-DB4369DE1B20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804864"/>
            <a:ext cx="5056632" cy="4822214"/>
          </a:xfrm>
        </p:spPr>
        <p:txBody>
          <a:bodyPr anchor="ctr" anchorCtr="0"/>
          <a:lstStyle>
            <a:lvl1pPr>
              <a:lnSpc>
                <a:spcPct val="90000"/>
              </a:lnSpc>
              <a:defRPr sz="8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DF938D9-FDBF-4E2E-9864-B9A3DEB81AA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surion_Confidential</a:t>
            </a:r>
            <a:endParaRPr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3F92F295-8332-4AF1-945C-EF34A8F3D0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EEF77736-11B3-FD47-8D1A-0948642A926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97748" y="1387172"/>
            <a:ext cx="5094189" cy="3657599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1800" b="0"/>
            </a:lvl1pPr>
          </a:lstStyle>
          <a:p>
            <a:pPr lvl="0"/>
            <a:r>
              <a:t>Click to edi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53ED9B2-3D2E-F843-A7AA-76A3A643C7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61" y="6390186"/>
            <a:ext cx="918000" cy="332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0443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r Team Layou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0DFA8-C5FE-DB44-9BF9-1274EAD5637C}" type="slidenum">
              <a:rPr/>
              <a:t>‹#›</a:t>
            </a:fld>
            <a:endParaRPr/>
          </a:p>
        </p:txBody>
      </p:sp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en-US" sz="11500" b="0" i="0" spc="100">
                <a:solidFill>
                  <a:srgbClr val="FFFFFF"/>
                </a:solidFill>
                <a:latin typeface="+mj-lt"/>
              </a:rPr>
              <a:t>MORE</a:t>
            </a:r>
            <a:br>
              <a:rPr sz="11500" b="0" i="0" spc="100">
                <a:solidFill>
                  <a:srgbClr val="FFFFFF"/>
                </a:solidFill>
                <a:latin typeface="+mj-lt"/>
              </a:rPr>
            </a:br>
            <a:r>
              <a:rPr sz="11500" b="0" i="0" spc="100">
                <a:solidFill>
                  <a:srgbClr val="FFFFFF"/>
                </a:solidFill>
                <a:latin typeface="+mj-lt"/>
              </a:rPr>
              <a:t>LAYOU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0C9D3A-9A1A-C140-B0F7-9A8C63C4D4BD}"/>
              </a:ext>
            </a:extLst>
          </p:cNvPr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sz="1100" b="0" i="0" kern="1200">
                <a:solidFill>
                  <a:schemeClr val="bg1">
                    <a:lumMod val="85000"/>
                  </a:schemeClr>
                </a:solidFill>
                <a:effectLst/>
                <a:latin typeface="+mn-lt"/>
                <a:ea typeface="+mn-ea"/>
                <a:cs typeface="+mn-cs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9695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r Team - Her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7A85A9E-2A2D-433F-BD91-82053E5A19D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43650" y="0"/>
            <a:ext cx="5848350" cy="6858000"/>
          </a:xfrm>
        </p:spPr>
        <p:txBody>
          <a:bodyPr anchor="ctr"/>
          <a:lstStyle>
            <a:lvl1pPr algn="l">
              <a:defRPr/>
            </a:lvl1pPr>
          </a:lstStyle>
          <a:p>
            <a:r>
              <a:rPr lang="en-US"/>
              <a:t>Click icon to add image&gt;</a:t>
            </a: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272087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4C8F12B-D471-4524-A21D-E2E0C4A3A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203B0C-11E9-4FDC-A004-C78D9EB13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97D1946-A27B-43F9-B00A-FC4DE83AD0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0063" y="3091180"/>
            <a:ext cx="5272087" cy="2755582"/>
          </a:xfrm>
        </p:spPr>
        <p:txBody>
          <a:bodyPr spcCol="540000"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0678756-BBF3-439F-ADEE-A76D2E9A1370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0063" y="2019945"/>
            <a:ext cx="5272087" cy="786765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2000" b="1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766422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r Team - 4 Peo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4C8F12B-D471-4524-A21D-E2E0C4A3A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203B0C-11E9-4FDC-A004-C78D9EB13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42ACEDA4-5C2A-4931-AC44-4B272EE3D58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00062" y="2539729"/>
            <a:ext cx="2547937" cy="2671005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F760FFA7-619E-40DF-AC66-F5C11B33A9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00063" y="5312999"/>
            <a:ext cx="2547936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CD369C5-DA54-4EC8-A861-59B2E550C75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0063" y="1459594"/>
            <a:ext cx="5799137" cy="844899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Picture Placeholder 8">
            <a:extLst>
              <a:ext uri="{FF2B5EF4-FFF2-40B4-BE49-F238E27FC236}">
                <a16:creationId xmlns:a16="http://schemas.microsoft.com/office/drawing/2014/main" id="{B5446C24-2D9C-42B4-901E-1052A1C6C28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381374" y="2539729"/>
            <a:ext cx="2547937" cy="2671005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7CB72C08-8293-4857-B537-E62B2714B7F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81375" y="5312999"/>
            <a:ext cx="2547936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3" name="Picture Placeholder 8">
            <a:extLst>
              <a:ext uri="{FF2B5EF4-FFF2-40B4-BE49-F238E27FC236}">
                <a16:creationId xmlns:a16="http://schemas.microsoft.com/office/drawing/2014/main" id="{2A475AAB-A6A9-4D28-90C7-B96351B827EF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262686" y="2539729"/>
            <a:ext cx="2547937" cy="2671005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2C717BB1-0365-4267-8343-54A47BB3B84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62687" y="5312999"/>
            <a:ext cx="2547936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5" name="Picture Placeholder 8">
            <a:extLst>
              <a:ext uri="{FF2B5EF4-FFF2-40B4-BE49-F238E27FC236}">
                <a16:creationId xmlns:a16="http://schemas.microsoft.com/office/drawing/2014/main" id="{52CFDD9E-D8C9-4A66-B0BF-B1F5FECE10A7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143999" y="2539729"/>
            <a:ext cx="2547937" cy="2671005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7291B81A-9C50-4F49-A41B-441287B3D49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144000" y="5312999"/>
            <a:ext cx="2547936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74363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r Team - 10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4C8F12B-D471-4524-A21D-E2E0C4A3A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203B0C-11E9-4FDC-A004-C78D9EB13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A96F96D-5B2A-4821-929C-693CE24507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54063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2C5BA96-5869-4596-91D0-7DD77C3EB1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4063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973D2E0-934B-41D5-82A0-62209386DE7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0658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A25A260C-231A-4C7D-AC21-2F7C4413A85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0658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C66A25ED-9F96-4CE8-9724-8845BA58AF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327253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52BC4897-BC53-48EB-A869-983B961BAEC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327253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7F9493D9-27E8-4C58-8C9A-BD758C433DA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613848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B1B0EC22-7FA4-4FEC-84D2-F2823D45EF7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613848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044B693C-2ED8-48BA-B28D-0F6D5403062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900444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374A221F-25BC-4324-A8A9-E1AE12AF1C7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900444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42ACEDA4-5C2A-4931-AC44-4B272EE3D58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54063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F760FFA7-619E-40DF-AC66-F5C11B33A9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4063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2CE14DD0-BB0E-4446-ABC6-6CFED7CDCB1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040658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71592548-EBE0-45EC-8256-9C52CC8304E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040658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Picture Placeholder 8">
            <a:extLst>
              <a:ext uri="{FF2B5EF4-FFF2-40B4-BE49-F238E27FC236}">
                <a16:creationId xmlns:a16="http://schemas.microsoft.com/office/drawing/2014/main" id="{EE677E7A-20A3-4078-9426-D487E58A945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5327253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E565FACF-CA40-43FE-A69B-85DF95209ED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327253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Picture Placeholder 8">
            <a:extLst>
              <a:ext uri="{FF2B5EF4-FFF2-40B4-BE49-F238E27FC236}">
                <a16:creationId xmlns:a16="http://schemas.microsoft.com/office/drawing/2014/main" id="{29F613E7-EBD7-4FE9-B4BD-EC08FA1677FF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7613848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73B69718-9FDD-4EF4-BF7F-2D4BFA41DEA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613848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Picture Placeholder 8">
            <a:extLst>
              <a:ext uri="{FF2B5EF4-FFF2-40B4-BE49-F238E27FC236}">
                <a16:creationId xmlns:a16="http://schemas.microsoft.com/office/drawing/2014/main" id="{F9657D82-B2B7-42EE-A283-C05595EE506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900444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98492975-1781-40CF-AD27-B854895CB94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900444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46242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0000"/>
            <a:ext cx="55959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8929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ur Team Dark - Her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7A85A9E-2A2D-433F-BD91-82053E5A19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43650" y="0"/>
            <a:ext cx="58483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272087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4C8F12B-D471-4524-A21D-E2E0C4A3A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203B0C-11E9-4FDC-A004-C78D9EB13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97D1946-A27B-43F9-B00A-FC4DE83AD0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0063" y="3091180"/>
            <a:ext cx="5272087" cy="2755582"/>
          </a:xfrm>
        </p:spPr>
        <p:txBody>
          <a:bodyPr spcCol="540000"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0678756-BBF3-439F-ADEE-A76D2E9A1370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0063" y="2019945"/>
            <a:ext cx="5272087" cy="786765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2000" b="1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6659E1D-6A1A-A74A-9C33-0EDF5223EE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61" y="6390186"/>
            <a:ext cx="918000" cy="332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28493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ur Team Dark - 4 Peo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4C8F12B-D471-4524-A21D-E2E0C4A3A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203B0C-11E9-4FDC-A004-C78D9EB13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42ACEDA4-5C2A-4931-AC44-4B272EE3D58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00062" y="2539729"/>
            <a:ext cx="2547937" cy="2671005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F760FFA7-619E-40DF-AC66-F5C11B33A9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00063" y="5312999"/>
            <a:ext cx="2547936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CD369C5-DA54-4EC8-A861-59B2E550C75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0063" y="1459594"/>
            <a:ext cx="5799137" cy="844899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Picture Placeholder 8">
            <a:extLst>
              <a:ext uri="{FF2B5EF4-FFF2-40B4-BE49-F238E27FC236}">
                <a16:creationId xmlns:a16="http://schemas.microsoft.com/office/drawing/2014/main" id="{B5446C24-2D9C-42B4-901E-1052A1C6C28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381374" y="2539729"/>
            <a:ext cx="2547937" cy="2671005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7CB72C08-8293-4857-B537-E62B2714B7F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81375" y="5312999"/>
            <a:ext cx="2547936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3" name="Picture Placeholder 8">
            <a:extLst>
              <a:ext uri="{FF2B5EF4-FFF2-40B4-BE49-F238E27FC236}">
                <a16:creationId xmlns:a16="http://schemas.microsoft.com/office/drawing/2014/main" id="{2A475AAB-A6A9-4D28-90C7-B96351B827EF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262686" y="2539729"/>
            <a:ext cx="2547937" cy="2671005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2C717BB1-0365-4267-8343-54A47BB3B84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62687" y="5312999"/>
            <a:ext cx="2547936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5" name="Picture Placeholder 8">
            <a:extLst>
              <a:ext uri="{FF2B5EF4-FFF2-40B4-BE49-F238E27FC236}">
                <a16:creationId xmlns:a16="http://schemas.microsoft.com/office/drawing/2014/main" id="{52CFDD9E-D8C9-4A66-B0BF-B1F5FECE10A7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143999" y="2539729"/>
            <a:ext cx="2547937" cy="2671005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7291B81A-9C50-4F49-A41B-441287B3D49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144000" y="5312999"/>
            <a:ext cx="2547936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2BAAFA8-9DDA-A145-B31B-CC574D395B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61" y="6390186"/>
            <a:ext cx="918000" cy="332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81421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ur Team Dark - 10 Peo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4C8F12B-D471-4524-A21D-E2E0C4A3A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203B0C-11E9-4FDC-A004-C78D9EB13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A96F96D-5B2A-4821-929C-693CE24507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54063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2C5BA96-5869-4596-91D0-7DD77C3EB1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4063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973D2E0-934B-41D5-82A0-62209386DE7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0658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A25A260C-231A-4C7D-AC21-2F7C4413A85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0658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C66A25ED-9F96-4CE8-9724-8845BA58AF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327253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52BC4897-BC53-48EB-A869-983B961BAEC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327253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7F9493D9-27E8-4C58-8C9A-BD758C433DA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613848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B1B0EC22-7FA4-4FEC-84D2-F2823D45EF7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613848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044B693C-2ED8-48BA-B28D-0F6D5403062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900444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374A221F-25BC-4324-A8A9-E1AE12AF1C7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900444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42ACEDA4-5C2A-4931-AC44-4B272EE3D58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54063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F760FFA7-619E-40DF-AC66-F5C11B33A9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4063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2CE14DD0-BB0E-4446-ABC6-6CFED7CDCB1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040658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71592548-EBE0-45EC-8256-9C52CC8304E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040658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Picture Placeholder 8">
            <a:extLst>
              <a:ext uri="{FF2B5EF4-FFF2-40B4-BE49-F238E27FC236}">
                <a16:creationId xmlns:a16="http://schemas.microsoft.com/office/drawing/2014/main" id="{EE677E7A-20A3-4078-9426-D487E58A945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5327253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E565FACF-CA40-43FE-A69B-85DF95209ED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327253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Picture Placeholder 8">
            <a:extLst>
              <a:ext uri="{FF2B5EF4-FFF2-40B4-BE49-F238E27FC236}">
                <a16:creationId xmlns:a16="http://schemas.microsoft.com/office/drawing/2014/main" id="{29F613E7-EBD7-4FE9-B4BD-EC08FA1677FF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7613848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73B69718-9FDD-4EF4-BF7F-2D4BFA41DEA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613848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Picture Placeholder 8">
            <a:extLst>
              <a:ext uri="{FF2B5EF4-FFF2-40B4-BE49-F238E27FC236}">
                <a16:creationId xmlns:a16="http://schemas.microsoft.com/office/drawing/2014/main" id="{F9657D82-B2B7-42EE-A283-C05595EE506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900444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98492975-1781-40CF-AD27-B854895CB94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900444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726A53AB-D940-D047-986C-7D2ACD340C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61" y="6390186"/>
            <a:ext cx="918000" cy="332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3405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oid layou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0DFA8-C5FE-DB44-9BF9-1274EAD5637C}" type="slidenum">
              <a:rPr/>
              <a:t>‹#›</a:t>
            </a:fld>
            <a:endParaRPr/>
          </a:p>
        </p:txBody>
      </p:sp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sz="11500" b="0" i="0" spc="100">
                <a:solidFill>
                  <a:srgbClr val="FFFFFF"/>
                </a:solidFill>
                <a:latin typeface="+mj-lt"/>
              </a:rPr>
              <a:t>FACTOID</a:t>
            </a:r>
            <a:br>
              <a:rPr sz="11500" b="0" i="0" spc="100">
                <a:solidFill>
                  <a:srgbClr val="FFFFFF"/>
                </a:solidFill>
                <a:latin typeface="+mj-lt"/>
              </a:rPr>
            </a:br>
            <a:r>
              <a:rPr sz="11500" b="0" i="0" spc="100">
                <a:solidFill>
                  <a:srgbClr val="FFFFFF"/>
                </a:solidFill>
                <a:latin typeface="+mj-lt"/>
              </a:rPr>
              <a:t>LAYOU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0C9D3A-9A1A-C140-B0F7-9A8C63C4D4BD}"/>
              </a:ext>
            </a:extLst>
          </p:cNvPr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sz="1100" b="0" i="0" kern="1200">
                <a:solidFill>
                  <a:schemeClr val="bg1">
                    <a:lumMod val="85000"/>
                  </a:schemeClr>
                </a:solidFill>
                <a:effectLst/>
                <a:latin typeface="+mn-lt"/>
                <a:ea typeface="+mn-ea"/>
                <a:cs typeface="+mn-cs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3448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llustration with Facto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22F74907-9901-41D8-B02E-D5156ACAC59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CD76F14-B7C1-4783-A9BB-4763BFA8875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3466A7-5C27-FB4B-A9B7-F2C26253EB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95799" y="2661861"/>
            <a:ext cx="5344954" cy="923330"/>
          </a:xfrm>
        </p:spPr>
        <p:txBody>
          <a:bodyPr wrap="square" lIns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6000" b="0"/>
            </a:lvl1pPr>
          </a:lstStyle>
          <a:p>
            <a:pPr lvl="0"/>
            <a:r>
              <a:t>Click to edi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47CD0EF-8E5D-2D41-8F67-55AB7DD0D3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95800" y="3637927"/>
            <a:ext cx="5344954" cy="1100547"/>
          </a:xfrm>
        </p:spPr>
        <p:txBody>
          <a:bodyPr lIns="0"/>
          <a:lstStyle>
            <a:lvl1pPr algn="l">
              <a:lnSpc>
                <a:spcPct val="100000"/>
              </a:lnSpc>
              <a:spcBef>
                <a:spcPts val="0"/>
              </a:spcBef>
              <a:defRPr sz="1800" b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3AED009-9A6B-3C46-8DBC-C47FFB4586AF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174489" y="2483443"/>
            <a:ext cx="2210344" cy="2354581"/>
          </a:xfrm>
        </p:spPr>
        <p:txBody>
          <a:bodyPr/>
          <a:lstStyle>
            <a:lvl1pPr>
              <a:defRPr sz="1200" b="0"/>
            </a:lvl1pPr>
          </a:lstStyle>
          <a:p>
            <a:pPr lvl="0"/>
            <a:r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1186400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llustration with Factoid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0A5685-ADC9-4197-AAEB-665323328B34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surion_Confidentia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C23BE928-69FE-1A4A-815A-A8E605AA498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0063" y="1627612"/>
            <a:ext cx="5056675" cy="382161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5EE7C6A-85A2-5D4F-B0CF-D40F227A6FE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43663" y="1627612"/>
            <a:ext cx="5095874" cy="923330"/>
          </a:xfrm>
        </p:spPr>
        <p:txBody>
          <a:bodyPr wrap="square" lIns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6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t>Click to edi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6F3E38C-204B-FB48-A789-CED878B5326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443664" y="2603678"/>
            <a:ext cx="5095874" cy="1445421"/>
          </a:xfrm>
        </p:spPr>
        <p:txBody>
          <a:bodyPr lIns="0"/>
          <a:lstStyle>
            <a:lvl1pPr algn="l">
              <a:lnSpc>
                <a:spcPct val="100000"/>
              </a:lnSpc>
              <a:spcBef>
                <a:spcPts val="0"/>
              </a:spcBef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5667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llustration with Factoid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0A5685-ADC9-4197-AAEB-665323328B34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surion_Confidentia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C23BE928-69FE-1A4A-815A-A8E605AA498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34615" y="1041400"/>
            <a:ext cx="5157323" cy="484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5EE7C6A-85A2-5D4F-B0CF-D40F227A6FE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0063" y="2412005"/>
            <a:ext cx="5095874" cy="923330"/>
          </a:xfrm>
        </p:spPr>
        <p:txBody>
          <a:bodyPr wrap="square" lIns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6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t>Click to edi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6F3E38C-204B-FB48-A789-CED878B5326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0064" y="3388071"/>
            <a:ext cx="5095874" cy="1445421"/>
          </a:xfrm>
        </p:spPr>
        <p:txBody>
          <a:bodyPr lIns="0"/>
          <a:lstStyle>
            <a:lvl1pPr algn="l">
              <a:lnSpc>
                <a:spcPct val="100000"/>
              </a:lnSpc>
              <a:spcBef>
                <a:spcPts val="0"/>
              </a:spcBef>
              <a:defRPr sz="1800" b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9362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actoid Split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33A7F6AC-2D36-EA4B-9F5B-00305F9EAB16}"/>
              </a:ext>
            </a:extLst>
          </p:cNvPr>
          <p:cNvSpPr/>
          <p:nvPr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D2E75D1-50C8-A44B-85EE-80C0B5736536}"/>
              </a:ext>
            </a:extLst>
          </p:cNvPr>
          <p:cNvSpPr/>
          <p:nvPr/>
        </p:nvSpPr>
        <p:spPr>
          <a:xfrm>
            <a:off x="6096000" y="0"/>
            <a:ext cx="6096000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32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DF938D9-FDBF-4E2E-9864-B9A3DEB81AA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surion_Confidential</a:t>
            </a:r>
            <a:endParaRPr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3F92F295-8332-4AF1-945C-EF34A8F3D0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1AA52CFB-7227-B94E-A04F-5E3794B0F8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00064" y="2350522"/>
            <a:ext cx="5095874" cy="2254135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 b="0">
                <a:latin typeface="+mn-lt"/>
              </a:defRPr>
            </a:lvl1pPr>
          </a:lstStyle>
          <a:p>
            <a:pPr lvl="0"/>
            <a:r>
              <a:t>Click to edit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F5A3AB30-CF44-7248-A3D3-3F5409CF34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35700" y="1235904"/>
            <a:ext cx="2863693" cy="1231106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8000" b="0">
                <a:solidFill>
                  <a:schemeClr val="bg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703B6F5A-60F0-DC4B-A37F-01DBA21C5CB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3204" y="1415428"/>
            <a:ext cx="2458733" cy="837118"/>
          </a:xfrm>
        </p:spPr>
        <p:txBody>
          <a:bodyPr lIns="91440" anchor="ctr" anchorCtr="0"/>
          <a:lstStyle>
            <a:lvl1pPr algn="l">
              <a:lnSpc>
                <a:spcPct val="100000"/>
              </a:lnSpc>
              <a:spcBef>
                <a:spcPts val="0"/>
              </a:spcBef>
              <a:defRPr sz="14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t>Click to edi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956821E9-8772-804F-B6CD-FF23B856CA86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7667546" y="3801447"/>
            <a:ext cx="2937214" cy="2090868"/>
          </a:xfrm>
        </p:spPr>
        <p:txBody>
          <a:bodyPr/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t>Conten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B396265-D59A-9141-9A15-F063AC71C8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61" y="6390186"/>
            <a:ext cx="918000" cy="332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7037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ght Numbered F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22F74907-9901-41D8-B02E-D5156ACAC59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CD76F14-B7C1-4783-A9BB-4763BFA8875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1866E3A-7DEB-5C4E-8324-44DAFB7110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9032" y="2645919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2203A6C8-48F7-4D4E-AD85-EAA8F99930F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99034" y="2009049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54" name="Text Placeholder 10">
            <a:extLst>
              <a:ext uri="{FF2B5EF4-FFF2-40B4-BE49-F238E27FC236}">
                <a16:creationId xmlns:a16="http://schemas.microsoft.com/office/drawing/2014/main" id="{CF2CF0DB-CDB9-1C4A-8839-F41C532D5CB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03870" y="2009049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55" name="Text Placeholder 10">
            <a:extLst>
              <a:ext uri="{FF2B5EF4-FFF2-40B4-BE49-F238E27FC236}">
                <a16:creationId xmlns:a16="http://schemas.microsoft.com/office/drawing/2014/main" id="{AE28C0EB-3AAE-0047-9B43-726D44D9703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564953" y="2645919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B085BC16-2098-9147-A6CA-B4CD22B9ED7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64955" y="2009049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57" name="Text Placeholder 10">
            <a:extLst>
              <a:ext uri="{FF2B5EF4-FFF2-40B4-BE49-F238E27FC236}">
                <a16:creationId xmlns:a16="http://schemas.microsoft.com/office/drawing/2014/main" id="{9E61EAAA-A66E-D846-8EDA-9834B2616C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169791" y="2009049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288D383F-E969-DA4F-BE90-F15614FF248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355954" y="2643295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A40412F6-ABC2-824C-A321-7EB4158892A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55956" y="2006425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F8D29A9A-8DF4-7141-834D-BD93C48F105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960792" y="2006425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61" name="Text Placeholder 10">
            <a:extLst>
              <a:ext uri="{FF2B5EF4-FFF2-40B4-BE49-F238E27FC236}">
                <a16:creationId xmlns:a16="http://schemas.microsoft.com/office/drawing/2014/main" id="{843DE115-8C87-8344-8886-25A75BB8D9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087822" y="2645919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A7C507EF-6B56-8142-A1B5-703F7301FA5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087824" y="2009049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63" name="Text Placeholder 10">
            <a:extLst>
              <a:ext uri="{FF2B5EF4-FFF2-40B4-BE49-F238E27FC236}">
                <a16:creationId xmlns:a16="http://schemas.microsoft.com/office/drawing/2014/main" id="{047276DC-2172-434C-A123-1524D3E5DB8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692660" y="2009049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67" name="Text Placeholder 10">
            <a:extLst>
              <a:ext uri="{FF2B5EF4-FFF2-40B4-BE49-F238E27FC236}">
                <a16:creationId xmlns:a16="http://schemas.microsoft.com/office/drawing/2014/main" id="{CD273DAC-811D-1A48-B24F-1BEC6D6CAE3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99032" y="4578907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E22A3C03-E052-BE45-AB65-9153D3E5240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99034" y="3942037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69" name="Text Placeholder 10">
            <a:extLst>
              <a:ext uri="{FF2B5EF4-FFF2-40B4-BE49-F238E27FC236}">
                <a16:creationId xmlns:a16="http://schemas.microsoft.com/office/drawing/2014/main" id="{6D80D084-8BE0-AA45-9990-239C8C7054E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03870" y="3942037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70" name="Text Placeholder 10">
            <a:extLst>
              <a:ext uri="{FF2B5EF4-FFF2-40B4-BE49-F238E27FC236}">
                <a16:creationId xmlns:a16="http://schemas.microsoft.com/office/drawing/2014/main" id="{3D6EC247-3707-CF41-9AFF-46DCFF35B9C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564953" y="4578907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F712BE49-08EC-9644-BA42-E079E6F4B0A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564955" y="3942037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72" name="Text Placeholder 10">
            <a:extLst>
              <a:ext uri="{FF2B5EF4-FFF2-40B4-BE49-F238E27FC236}">
                <a16:creationId xmlns:a16="http://schemas.microsoft.com/office/drawing/2014/main" id="{BB6BD5CF-5783-3C4F-BF8D-B06E51A0EC61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169791" y="3942037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73" name="Text Placeholder 10">
            <a:extLst>
              <a:ext uri="{FF2B5EF4-FFF2-40B4-BE49-F238E27FC236}">
                <a16:creationId xmlns:a16="http://schemas.microsoft.com/office/drawing/2014/main" id="{89364852-4B67-BE4C-B32D-D6F4629D287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355954" y="4576283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EAB19194-3969-F64C-86BF-9B57D83CAF3B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355956" y="3939413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75" name="Text Placeholder 10">
            <a:extLst>
              <a:ext uri="{FF2B5EF4-FFF2-40B4-BE49-F238E27FC236}">
                <a16:creationId xmlns:a16="http://schemas.microsoft.com/office/drawing/2014/main" id="{49080CC3-7630-F140-9CF8-8794360A547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960792" y="3939413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76" name="Text Placeholder 10">
            <a:extLst>
              <a:ext uri="{FF2B5EF4-FFF2-40B4-BE49-F238E27FC236}">
                <a16:creationId xmlns:a16="http://schemas.microsoft.com/office/drawing/2014/main" id="{56852BAC-70A5-1D4E-BC18-FBEFD6D03BB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087822" y="4578907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259A7000-3C5E-BB43-A5AE-594FB6186AE2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087824" y="3942037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78" name="Text Placeholder 10">
            <a:extLst>
              <a:ext uri="{FF2B5EF4-FFF2-40B4-BE49-F238E27FC236}">
                <a16:creationId xmlns:a16="http://schemas.microsoft.com/office/drawing/2014/main" id="{771ABC88-66E2-FB42-807A-A13D16900BA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692660" y="3942037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</p:spTree>
    <p:extLst>
      <p:ext uri="{BB962C8B-B14F-4D97-AF65-F5344CB8AC3E}">
        <p14:creationId xmlns:p14="http://schemas.microsoft.com/office/powerpoint/2010/main" val="154764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ight Numbers Facts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2256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DF938D9-FDBF-4E2E-9864-B9A3DEB81AA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surion_Confidential</a:t>
            </a:r>
            <a:endParaRPr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3F92F295-8332-4AF1-945C-EF34A8F3D0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B9A0D239-81E9-6647-BF62-476D7D0AE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9032" y="2645919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27B3718C-D3BC-0A4A-AB24-8E0527BD0BC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99034" y="2009049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EE3CF9FC-234B-B34A-AEED-DD9EA191F1E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03870" y="2009049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41D09DAB-1589-E34E-A510-555E37F2B14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564953" y="2645919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D0148C53-1352-2940-948D-748160CC579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64955" y="2009049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EBA9D11E-F868-C845-97E0-A54B829042E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169791" y="2009049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DAB052B3-0DA4-6A48-B41E-0E11CF17D0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355954" y="2643295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0FE77869-6ECC-DB4F-A3D0-18767E1BEBA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55956" y="2006425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2A7BAE2-7988-A84E-8577-17742D7D868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960792" y="2006425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1F637BFE-09A3-5441-9BA3-60AADA8A56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087822" y="2645919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FD3EC017-1E80-954A-BD2B-A8224CCBFE9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087824" y="2009049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D4AD2563-C182-174B-A94A-E5EA2C0B9741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692660" y="2009049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45AFD8F7-BBCE-974E-9799-7F97EABB126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99032" y="4578907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1049030-51FD-9B4C-9370-6D16E702C04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99034" y="3942037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10CB1AC8-5D47-6444-B4F6-244A3485DB9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03870" y="3942037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9E51DDB3-2697-2045-9C29-713A45B2EA1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564953" y="4578907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930A8F0C-8538-1A4C-9D42-4C76264FD4C2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564955" y="3942037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D281AB27-A235-4A44-B0D5-04A4A1D6662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169791" y="3942037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5B1D1191-6A82-3442-A392-EE6ED5417C2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355954" y="4576283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DA310A7C-745E-2C46-BF2C-CAE702280EDB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355956" y="3939413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A529FFF3-211A-4649-B80F-7080F4EF342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960792" y="3939413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89F1FE9B-2E3B-7046-88A0-6C5E57B9097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087822" y="4578907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B03A7643-78B5-2B4D-AD2C-2D9A2B1E603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087824" y="3942037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204CA410-10E1-0146-87AE-21BDA4ACECB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692660" y="3942037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226FFF42-7F39-D74B-BFBB-D00778ACDA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61" y="6390186"/>
            <a:ext cx="918000" cy="332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8197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3F9B186-B379-43C9-BEFE-1C3220F80B34}"/>
              </a:ext>
            </a:extLst>
          </p:cNvPr>
          <p:cNvSpPr/>
          <p:nvPr/>
        </p:nvSpPr>
        <p:spPr>
          <a:xfrm>
            <a:off x="0" y="5598000"/>
            <a:ext cx="6096000" cy="126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4F442-ECB4-4EA4-AE95-53D8E965A64C}"/>
              </a:ext>
            </a:extLst>
          </p:cNvPr>
          <p:cNvSpPr/>
          <p:nvPr/>
        </p:nvSpPr>
        <p:spPr>
          <a:xfrm>
            <a:off x="6096000" y="5598000"/>
            <a:ext cx="6096000" cy="126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9" y="140677"/>
            <a:ext cx="5454650" cy="2453661"/>
          </a:xfrm>
        </p:spPr>
        <p:txBody>
          <a:bodyPr anchor="b"/>
          <a:lstStyle>
            <a:lvl1pPr algn="l">
              <a:lnSpc>
                <a:spcPct val="90000"/>
              </a:lnSpc>
              <a:defRPr sz="5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3022209"/>
            <a:ext cx="4086542" cy="2010506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15" name="asurion logo">
            <a:extLst>
              <a:ext uri="{FF2B5EF4-FFF2-40B4-BE49-F238E27FC236}">
                <a16:creationId xmlns:a16="http://schemas.microsoft.com/office/drawing/2014/main" id="{742C3EE8-5E66-4064-AD77-262ED2AF10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0" y="5995713"/>
            <a:ext cx="1527969" cy="354615"/>
            <a:chOff x="316" y="3952"/>
            <a:chExt cx="586" cy="136"/>
          </a:xfrm>
          <a:solidFill>
            <a:schemeClr val="bg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9EF3FF97-F9E4-4229-93B3-D336E320D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9D763D80-7D31-4C23-92B5-7AA5C7093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D0697A47-C99B-4053-ADFB-D711F85AE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B1BCB078-E3E2-4D42-8199-4874325579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961A3D60-6C30-4644-91DF-BEEC5109B1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F348E325-407C-441C-B197-E60FC5A68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9F368039-5BAA-412B-A0CF-A7E83F9606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975679-7E40-4963-9C83-A613C95AA4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99238" y="6012655"/>
            <a:ext cx="3435350" cy="531812"/>
          </a:xfrm>
        </p:spPr>
        <p:txBody>
          <a:bodyPr anchor="ctr" anchorCtr="0"/>
          <a:lstStyle>
            <a:lvl1pPr>
              <a:lnSpc>
                <a:spcPct val="100000"/>
              </a:lnSpc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Presenter Name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7D42A3C6-0F61-41F7-B4CB-28E14C8D71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60000" y="6012655"/>
            <a:ext cx="1534575" cy="531812"/>
          </a:xfrm>
        </p:spPr>
        <p:txBody>
          <a:bodyPr anchor="ctr" anchorCtr="0"/>
          <a:lstStyle>
            <a:lvl1pPr algn="r">
              <a:lnSpc>
                <a:spcPct val="100000"/>
              </a:lnSpc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January 01, 2020</a:t>
            </a:r>
          </a:p>
        </p:txBody>
      </p:sp>
    </p:spTree>
    <p:extLst>
      <p:ext uri="{BB962C8B-B14F-4D97-AF65-F5344CB8AC3E}">
        <p14:creationId xmlns:p14="http://schemas.microsoft.com/office/powerpoint/2010/main" val="20091455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00063" y="2517775"/>
            <a:ext cx="5324400" cy="3373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6367537" y="2517775"/>
            <a:ext cx="5324400" cy="3373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5FB212-C07C-47E4-B111-95662FEA043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F383D8-C510-4C92-8A54-DA05FA7AFF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9439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EA01E96-DFCE-8A47-95E4-C17CB5B7677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C4D158-65DE-0842-BD47-216B25C04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063" y="440482"/>
            <a:ext cx="4636713" cy="2800259"/>
          </a:xfrm>
        </p:spPr>
        <p:txBody>
          <a:bodyPr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A02E6C-722C-7048-BD48-797E23EE61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surion_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15BA52-1787-734E-AF70-5A45B094194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3ACAB3-CA36-4966-8A1D-076772D39D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0112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Header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35141" y="446743"/>
            <a:ext cx="3778097" cy="269035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 lang="en-US"/>
            </a:br>
            <a:r>
              <a:t>style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91600" y="6477425"/>
            <a:ext cx="1952422" cy="180000"/>
          </a:xfrm>
        </p:spPr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0A8629D5-1353-B143-9D56-3314F8FA1E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2624" y="3436642"/>
            <a:ext cx="3773609" cy="245271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8945954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Header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6ED2350-036A-634E-B069-2EDD8FDBE10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35141" y="446743"/>
            <a:ext cx="3778097" cy="269035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 lang="en-US"/>
            </a:br>
            <a:r>
              <a:t>style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91600" y="6477425"/>
            <a:ext cx="1952422" cy="180000"/>
          </a:xfrm>
        </p:spPr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0A8629D5-1353-B143-9D56-3314F8FA1E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2624" y="3436642"/>
            <a:ext cx="3773609" cy="245271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0678479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Header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35141" y="446743"/>
            <a:ext cx="3778097" cy="269035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 lang="en-US"/>
            </a:br>
            <a:r>
              <a:t>style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91600" y="6477425"/>
            <a:ext cx="1952422" cy="180000"/>
          </a:xfrm>
        </p:spPr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0A8629D5-1353-B143-9D56-3314F8FA1E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2624" y="3436642"/>
            <a:ext cx="3773609" cy="245271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F64DB2-6948-D549-B930-9CF6FD0AF78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61" y="6390186"/>
            <a:ext cx="918000" cy="332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98831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Header 5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35141" y="446743"/>
            <a:ext cx="3778097" cy="269035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/>
            </a:br>
            <a:r>
              <a:t>style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91600" y="6477425"/>
            <a:ext cx="1952422" cy="180000"/>
          </a:xfrm>
        </p:spPr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2825" y="6477425"/>
            <a:ext cx="519112" cy="180000"/>
          </a:xfrm>
        </p:spPr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468D2047-5D6F-7C41-984A-AC9DD6F37A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2624" y="3436642"/>
            <a:ext cx="3773609" cy="245271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67A4569-2F5A-6F42-ABD6-012742F233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61" y="6390186"/>
            <a:ext cx="918000" cy="332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3322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0DFA8-C5FE-DB44-9BF9-1274EAD5637C}" type="slidenum">
              <a:rPr/>
              <a:t>‹#›</a:t>
            </a:fld>
            <a:endParaRPr/>
          </a:p>
        </p:txBody>
      </p:sp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sz="11500" b="0" i="0" spc="100">
                <a:solidFill>
                  <a:srgbClr val="FFFFFF"/>
                </a:solidFill>
                <a:latin typeface="+mj-lt"/>
              </a:rPr>
              <a:t>END SLID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0C9D3A-9A1A-C140-B0F7-9A8C63C4D4BD}"/>
              </a:ext>
            </a:extLst>
          </p:cNvPr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sz="1100" b="0" i="0" kern="1200">
                <a:solidFill>
                  <a:schemeClr val="bg1">
                    <a:lumMod val="85000"/>
                  </a:schemeClr>
                </a:solidFill>
                <a:effectLst/>
                <a:latin typeface="+mn-lt"/>
                <a:ea typeface="+mn-ea"/>
                <a:cs typeface="+mn-cs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9603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with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D744DE2C-A424-4827-A247-97648814534C}"/>
              </a:ext>
            </a:extLst>
          </p:cNvPr>
          <p:cNvSpPr/>
          <p:nvPr/>
        </p:nvSpPr>
        <p:spPr>
          <a:xfrm>
            <a:off x="6095747" y="0"/>
            <a:ext cx="609625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4F442-ECB4-4EA4-AE95-53D8E965A64C}"/>
              </a:ext>
            </a:extLst>
          </p:cNvPr>
          <p:cNvSpPr/>
          <p:nvPr/>
        </p:nvSpPr>
        <p:spPr>
          <a:xfrm>
            <a:off x="0" y="0"/>
            <a:ext cx="6096000" cy="55839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5939" y="1983105"/>
            <a:ext cx="5454650" cy="184023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6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Type text her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F89008F-C4D0-704F-A80F-2D2965022D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556" y="5995203"/>
            <a:ext cx="1502569" cy="544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804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5939" y="2245995"/>
            <a:ext cx="5454650" cy="184023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6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Type text her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618E7D1-5B54-2C48-A9B5-9751EEF1C2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558" y="5995203"/>
            <a:ext cx="1502565" cy="544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0734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of Layou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urion_Confidential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0DFA8-C5FE-DB44-9BF9-1274EAD5637C}" type="slidenum">
              <a:rPr/>
              <a:t>‹#›</a:t>
            </a:fld>
            <a:endParaRPr/>
          </a:p>
        </p:txBody>
      </p:sp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sz="11500" b="0" i="0" spc="100">
                <a:solidFill>
                  <a:srgbClr val="FFFFFF"/>
                </a:solidFill>
                <a:latin typeface="+mj-lt"/>
              </a:rPr>
              <a:t>DO NOT USE </a:t>
            </a:r>
            <a:br>
              <a:rPr sz="11500" b="0" i="0" spc="100">
                <a:solidFill>
                  <a:srgbClr val="FFFFFF"/>
                </a:solidFill>
                <a:latin typeface="+mj-lt"/>
              </a:rPr>
            </a:br>
            <a:r>
              <a:rPr sz="11500" b="0" i="0" spc="100">
                <a:solidFill>
                  <a:srgbClr val="FFFFFF"/>
                </a:solidFill>
                <a:latin typeface="+mj-lt"/>
              </a:rPr>
              <a:t>ANY</a:t>
            </a:r>
            <a:r>
              <a:rPr sz="11500" b="0" i="0" spc="100" baseline="0">
                <a:solidFill>
                  <a:srgbClr val="FFFFFF"/>
                </a:solidFill>
                <a:latin typeface="+mj-lt"/>
              </a:rPr>
              <a:t> LAYOUTS </a:t>
            </a:r>
            <a:br>
              <a:rPr sz="11500" b="0" i="0" spc="100" baseline="0">
                <a:solidFill>
                  <a:srgbClr val="FFFFFF"/>
                </a:solidFill>
                <a:latin typeface="+mj-lt"/>
              </a:rPr>
            </a:br>
            <a:r>
              <a:rPr sz="11500" b="0" i="0" spc="100" baseline="0">
                <a:solidFill>
                  <a:srgbClr val="FFFFFF"/>
                </a:solidFill>
                <a:latin typeface="+mj-lt"/>
              </a:rPr>
              <a:t>PAST THIS POINT</a:t>
            </a:r>
            <a:endParaRPr sz="11500" b="0" i="0" spc="10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0C9D3A-9A1A-C140-B0F7-9A8C63C4D4BD}"/>
              </a:ext>
            </a:extLst>
          </p:cNvPr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sz="1100" b="0" i="0" kern="1200">
                <a:solidFill>
                  <a:schemeClr val="bg1">
                    <a:lumMod val="85000"/>
                  </a:schemeClr>
                </a:solidFill>
                <a:effectLst/>
                <a:latin typeface="+mn-lt"/>
                <a:ea typeface="+mn-ea"/>
                <a:cs typeface="+mn-cs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50977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73873EC-714E-1E4D-BA13-B5A65A26867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476565" y="0"/>
            <a:ext cx="4715435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BR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79FC2E-F5DF-3D4D-9B60-9B7C4034A4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340" y="365125"/>
            <a:ext cx="6518414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DD8284-A996-CB44-9B0F-4F337B2CD9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2339" y="2093976"/>
            <a:ext cx="6518414" cy="3822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FAB117-0B58-3E49-973F-9A7A7E8678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8DEA01-C88E-D94D-B403-4C7E759BDF1C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0879407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0000"/>
            <a:ext cx="35893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1157396-66F3-4131-832E-DED0E7ABE71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01332" y="2520000"/>
            <a:ext cx="35893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0226DC9-EE88-4C38-BFC7-8CF1082EDBD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02601" y="2520000"/>
            <a:ext cx="35893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DF938D9-FDBF-4E2E-9864-B9A3DEB81AA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3F92F295-8332-4AF1-945C-EF34A8F3D0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9861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Agenda, Section Layou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0DFA8-C5FE-DB44-9BF9-1274EAD5637C}" type="slidenum">
              <a:rPr/>
              <a:t>‹#›</a:t>
            </a:fld>
            <a:endParaRPr/>
          </a:p>
        </p:txBody>
      </p:sp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sz="11500" b="0" i="0" spc="100">
                <a:solidFill>
                  <a:srgbClr val="FFFFFF"/>
                </a:solidFill>
                <a:latin typeface="+mj-lt"/>
              </a:rPr>
              <a:t>TITLE, AGENDA, &amp; SECTION LAYOU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0C9D3A-9A1A-C140-B0F7-9A8C63C4D4BD}"/>
              </a:ext>
            </a:extLst>
          </p:cNvPr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sz="1100" b="0" i="0" kern="1200">
                <a:solidFill>
                  <a:schemeClr val="bg1">
                    <a:lumMod val="85000"/>
                  </a:schemeClr>
                </a:solidFill>
                <a:effectLst/>
                <a:latin typeface="+mn-lt"/>
                <a:ea typeface="+mn-ea"/>
                <a:cs typeface="+mn-cs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4906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3F9B186-B379-43C9-BEFE-1C3220F80B34}"/>
              </a:ext>
            </a:extLst>
          </p:cNvPr>
          <p:cNvSpPr/>
          <p:nvPr/>
        </p:nvSpPr>
        <p:spPr>
          <a:xfrm>
            <a:off x="0" y="5598000"/>
            <a:ext cx="6096000" cy="126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4F442-ECB4-4EA4-AE95-53D8E965A64C}"/>
              </a:ext>
            </a:extLst>
          </p:cNvPr>
          <p:cNvSpPr/>
          <p:nvPr/>
        </p:nvSpPr>
        <p:spPr>
          <a:xfrm>
            <a:off x="6096000" y="5598000"/>
            <a:ext cx="6096000" cy="126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9" y="140677"/>
            <a:ext cx="5454650" cy="2453661"/>
          </a:xfrm>
        </p:spPr>
        <p:txBody>
          <a:bodyPr anchor="b"/>
          <a:lstStyle>
            <a:lvl1pPr algn="l">
              <a:lnSpc>
                <a:spcPct val="90000"/>
              </a:lnSpc>
              <a:defRPr sz="5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3022209"/>
            <a:ext cx="4086542" cy="2010506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15" name="asurion logo">
            <a:extLst>
              <a:ext uri="{FF2B5EF4-FFF2-40B4-BE49-F238E27FC236}">
                <a16:creationId xmlns:a16="http://schemas.microsoft.com/office/drawing/2014/main" id="{742C3EE8-5E66-4064-AD77-262ED2AF10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0" y="5995713"/>
            <a:ext cx="1527969" cy="354615"/>
            <a:chOff x="316" y="3952"/>
            <a:chExt cx="586" cy="136"/>
          </a:xfrm>
          <a:solidFill>
            <a:schemeClr val="bg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9EF3FF97-F9E4-4229-93B3-D336E320D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9D763D80-7D31-4C23-92B5-7AA5C7093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D0697A47-C99B-4053-ADFB-D711F85AE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B1BCB078-E3E2-4D42-8199-4874325579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961A3D60-6C30-4644-91DF-BEEC5109B1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F348E325-407C-441C-B197-E60FC5A68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9F368039-5BAA-412B-A0CF-A7E83F9606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975679-7E40-4963-9C83-A613C95AA4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99238" y="6012655"/>
            <a:ext cx="3435350" cy="531812"/>
          </a:xfrm>
        </p:spPr>
        <p:txBody>
          <a:bodyPr anchor="ctr" anchorCtr="0"/>
          <a:lstStyle>
            <a:lvl1pPr>
              <a:lnSpc>
                <a:spcPct val="100000"/>
              </a:lnSpc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Presenter Name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7D42A3C6-0F61-41F7-B4CB-28E14C8D71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60000" y="6012655"/>
            <a:ext cx="1534575" cy="531812"/>
          </a:xfrm>
        </p:spPr>
        <p:txBody>
          <a:bodyPr anchor="ctr" anchorCtr="0"/>
          <a:lstStyle>
            <a:lvl1pPr algn="r">
              <a:lnSpc>
                <a:spcPct val="100000"/>
              </a:lnSpc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January 01, 2020</a:t>
            </a:r>
          </a:p>
        </p:txBody>
      </p:sp>
    </p:spTree>
    <p:extLst>
      <p:ext uri="{BB962C8B-B14F-4D97-AF65-F5344CB8AC3E}">
        <p14:creationId xmlns:p14="http://schemas.microsoft.com/office/powerpoint/2010/main" val="15199787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3F9B186-B379-43C9-BEFE-1C3220F80B34}"/>
              </a:ext>
            </a:extLst>
          </p:cNvPr>
          <p:cNvSpPr/>
          <p:nvPr/>
        </p:nvSpPr>
        <p:spPr>
          <a:xfrm>
            <a:off x="0" y="5598000"/>
            <a:ext cx="6096000" cy="126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9" y="140677"/>
            <a:ext cx="5454650" cy="2453661"/>
          </a:xfrm>
        </p:spPr>
        <p:txBody>
          <a:bodyPr anchor="b"/>
          <a:lstStyle>
            <a:lvl1pPr algn="l">
              <a:lnSpc>
                <a:spcPct val="90000"/>
              </a:lnSpc>
              <a:defRPr sz="5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3022209"/>
            <a:ext cx="4086542" cy="2010506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15" name="asurion logo">
            <a:extLst>
              <a:ext uri="{FF2B5EF4-FFF2-40B4-BE49-F238E27FC236}">
                <a16:creationId xmlns:a16="http://schemas.microsoft.com/office/drawing/2014/main" id="{742C3EE8-5E66-4064-AD77-262ED2AF10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0" y="5995713"/>
            <a:ext cx="1527969" cy="354615"/>
            <a:chOff x="316" y="3952"/>
            <a:chExt cx="586" cy="136"/>
          </a:xfrm>
          <a:solidFill>
            <a:schemeClr val="bg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9EF3FF97-F9E4-4229-93B3-D336E320D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9D763D80-7D31-4C23-92B5-7AA5C7093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D0697A47-C99B-4053-ADFB-D711F85AE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B1BCB078-E3E2-4D42-8199-4874325579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961A3D60-6C30-4644-91DF-BEEC5109B1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F348E325-407C-441C-B197-E60FC5A68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9F368039-5BAA-412B-A0CF-A7E83F9606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975679-7E40-4963-9C83-A613C95AA4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99238" y="6012655"/>
            <a:ext cx="3435350" cy="531812"/>
          </a:xfrm>
        </p:spPr>
        <p:txBody>
          <a:bodyPr anchor="ctr" anchorCtr="0"/>
          <a:lstStyle>
            <a:lvl1pPr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Presenter Name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7D42A3C6-0F61-41F7-B4CB-28E14C8D71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60000" y="6012655"/>
            <a:ext cx="1534575" cy="531812"/>
          </a:xfrm>
        </p:spPr>
        <p:txBody>
          <a:bodyPr anchor="ctr" anchorCtr="0"/>
          <a:lstStyle>
            <a:lvl1pPr algn="r"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January 01, 2020</a:t>
            </a:r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885787FB-3228-2D4E-9952-0595A3D50DC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95" y="0"/>
            <a:ext cx="6099048" cy="6858000"/>
          </a:xfrm>
          <a:noFill/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5121398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D744DE2C-A424-4827-A247-97648814534C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4F442-ECB4-4EA4-AE95-53D8E965A64C}"/>
              </a:ext>
            </a:extLst>
          </p:cNvPr>
          <p:cNvSpPr/>
          <p:nvPr/>
        </p:nvSpPr>
        <p:spPr>
          <a:xfrm>
            <a:off x="6096000" y="5598000"/>
            <a:ext cx="6096000" cy="126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9" y="140677"/>
            <a:ext cx="5454650" cy="2453661"/>
          </a:xfrm>
        </p:spPr>
        <p:txBody>
          <a:bodyPr anchor="b"/>
          <a:lstStyle>
            <a:lvl1pPr algn="l">
              <a:lnSpc>
                <a:spcPct val="90000"/>
              </a:lnSpc>
              <a:defRPr sz="5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3022209"/>
            <a:ext cx="4086542" cy="2010506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15" name="asurion logo">
            <a:extLst>
              <a:ext uri="{FF2B5EF4-FFF2-40B4-BE49-F238E27FC236}">
                <a16:creationId xmlns:a16="http://schemas.microsoft.com/office/drawing/2014/main" id="{742C3EE8-5E66-4064-AD77-262ED2AF10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0" y="5995713"/>
            <a:ext cx="1527969" cy="354615"/>
            <a:chOff x="316" y="3952"/>
            <a:chExt cx="586" cy="136"/>
          </a:xfrm>
          <a:solidFill>
            <a:schemeClr val="tx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9EF3FF97-F9E4-4229-93B3-D336E320D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9D763D80-7D31-4C23-92B5-7AA5C7093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D0697A47-C99B-4053-ADFB-D711F85AE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B1BCB078-E3E2-4D42-8199-4874325579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961A3D60-6C30-4644-91DF-BEEC5109B1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F348E325-407C-441C-B197-E60FC5A68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9F368039-5BAA-412B-A0CF-A7E83F9606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975679-7E40-4963-9C83-A613C95AA4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99238" y="6012655"/>
            <a:ext cx="3435350" cy="531812"/>
          </a:xfrm>
        </p:spPr>
        <p:txBody>
          <a:bodyPr anchor="ctr" anchorCtr="0"/>
          <a:lstStyle>
            <a:lvl1pPr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Presenter Name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7D42A3C6-0F61-41F7-B4CB-28E14C8D71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60000" y="6012655"/>
            <a:ext cx="1534575" cy="531812"/>
          </a:xfrm>
        </p:spPr>
        <p:txBody>
          <a:bodyPr anchor="ctr" anchorCtr="0"/>
          <a:lstStyle>
            <a:lvl1pPr algn="r"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January 01, 2020</a:t>
            </a:r>
          </a:p>
        </p:txBody>
      </p:sp>
    </p:spTree>
    <p:extLst>
      <p:ext uri="{BB962C8B-B14F-4D97-AF65-F5344CB8AC3E}">
        <p14:creationId xmlns:p14="http://schemas.microsoft.com/office/powerpoint/2010/main" val="5931846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9FEFC07C-C691-5447-AEDC-FF4F067CF35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524" y="0"/>
            <a:ext cx="12188952" cy="5598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F9B186-B379-43C9-BEFE-1C3220F80B34}"/>
              </a:ext>
            </a:extLst>
          </p:cNvPr>
          <p:cNvSpPr/>
          <p:nvPr/>
        </p:nvSpPr>
        <p:spPr>
          <a:xfrm>
            <a:off x="0" y="5598000"/>
            <a:ext cx="6096000" cy="126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4F442-ECB4-4EA4-AE95-53D8E965A64C}"/>
              </a:ext>
            </a:extLst>
          </p:cNvPr>
          <p:cNvSpPr/>
          <p:nvPr/>
        </p:nvSpPr>
        <p:spPr>
          <a:xfrm>
            <a:off x="6096000" y="5598000"/>
            <a:ext cx="6096000" cy="12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9" y="140677"/>
            <a:ext cx="5454650" cy="2453661"/>
          </a:xfrm>
        </p:spPr>
        <p:txBody>
          <a:bodyPr anchor="b"/>
          <a:lstStyle>
            <a:lvl1pPr algn="l">
              <a:lnSpc>
                <a:spcPct val="90000"/>
              </a:lnSpc>
              <a:defRPr sz="5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3022209"/>
            <a:ext cx="4086542" cy="2010506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15" name="asurion logo">
            <a:extLst>
              <a:ext uri="{FF2B5EF4-FFF2-40B4-BE49-F238E27FC236}">
                <a16:creationId xmlns:a16="http://schemas.microsoft.com/office/drawing/2014/main" id="{742C3EE8-5E66-4064-AD77-262ED2AF10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0" y="5995713"/>
            <a:ext cx="1527969" cy="354615"/>
            <a:chOff x="316" y="3952"/>
            <a:chExt cx="586" cy="136"/>
          </a:xfrm>
          <a:solidFill>
            <a:schemeClr val="bg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9EF3FF97-F9E4-4229-93B3-D336E320D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9D763D80-7D31-4C23-92B5-7AA5C7093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D0697A47-C99B-4053-ADFB-D711F85AE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B1BCB078-E3E2-4D42-8199-4874325579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961A3D60-6C30-4644-91DF-BEEC5109B1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F348E325-407C-441C-B197-E60FC5A68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9F368039-5BAA-412B-A0CF-A7E83F9606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975679-7E40-4963-9C83-A613C95AA4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99238" y="6012655"/>
            <a:ext cx="3435350" cy="531812"/>
          </a:xfrm>
        </p:spPr>
        <p:txBody>
          <a:bodyPr anchor="ctr" anchorCtr="0"/>
          <a:lstStyle>
            <a:lvl1pPr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Presenter Name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7D42A3C6-0F61-41F7-B4CB-28E14C8D71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60000" y="6012655"/>
            <a:ext cx="1534575" cy="531812"/>
          </a:xfrm>
        </p:spPr>
        <p:txBody>
          <a:bodyPr anchor="ctr" anchorCtr="0"/>
          <a:lstStyle>
            <a:lvl1pPr algn="r"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January 01, 2020</a:t>
            </a:r>
          </a:p>
        </p:txBody>
      </p:sp>
    </p:spTree>
    <p:extLst>
      <p:ext uri="{BB962C8B-B14F-4D97-AF65-F5344CB8AC3E}">
        <p14:creationId xmlns:p14="http://schemas.microsoft.com/office/powerpoint/2010/main" val="31332466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595937" cy="1080135"/>
          </a:xfrm>
        </p:spPr>
        <p:txBody>
          <a:bodyPr/>
          <a:lstStyle>
            <a:lvl1pPr>
              <a:defRPr sz="32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29268" y="474663"/>
            <a:ext cx="4362670" cy="5378450"/>
          </a:xfrm>
        </p:spPr>
        <p:txBody>
          <a:bodyPr/>
          <a:lstStyle>
            <a:lvl1pPr marL="0" indent="0"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4305300" algn="r"/>
              </a:tabLst>
              <a:defRPr sz="2000" b="0"/>
            </a:lvl1pPr>
            <a:lvl2pPr marL="0" indent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4305300" algn="r"/>
              </a:tabLst>
              <a:defRPr sz="1800" b="0"/>
            </a:lvl2pPr>
            <a:lvl3pPr marL="0" indent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tabLst>
                <a:tab pos="4305300" algn="r"/>
              </a:tabLst>
              <a:defRPr sz="1600" b="0"/>
            </a:lvl3pPr>
            <a:lvl4pPr marL="0" indent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tabLst>
                <a:tab pos="4305300" algn="r"/>
              </a:tabLst>
              <a:defRPr sz="1400" b="0"/>
            </a:lvl4pPr>
            <a:lvl5pPr marL="0" indent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tabLst>
                <a:tab pos="4305300" algn="r"/>
              </a:tabLst>
              <a:defRPr sz="12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8B7AA72-988A-4DB7-84B4-863A0BC657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1689F5B-F6CF-4099-BCDE-974FCFCCF9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94226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1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595937" cy="1080135"/>
          </a:xfrm>
        </p:spPr>
        <p:txBody>
          <a:bodyPr/>
          <a:lstStyle>
            <a:lvl1pPr>
              <a:defRPr sz="32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29268" y="474663"/>
            <a:ext cx="4362670" cy="5378450"/>
          </a:xfrm>
        </p:spPr>
        <p:txBody>
          <a:bodyPr/>
          <a:lstStyle>
            <a:lvl1pPr marL="0" indent="0"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4305300" algn="r"/>
              </a:tabLst>
              <a:defRPr sz="2000" b="0"/>
            </a:lvl1pPr>
            <a:lvl2pPr marL="0" indent="0"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4305300" algn="r"/>
              </a:tabLst>
              <a:defRPr sz="1800" b="0"/>
            </a:lvl2pPr>
            <a:lvl3pPr marL="0" indent="0">
              <a:spcBef>
                <a:spcPts val="900"/>
              </a:spcBef>
              <a:spcAft>
                <a:spcPts val="0"/>
              </a:spcAft>
              <a:buNone/>
              <a:tabLst>
                <a:tab pos="4305300" algn="r"/>
              </a:tabLst>
              <a:defRPr sz="1600" b="0"/>
            </a:lvl3pPr>
            <a:lvl4pPr marL="0" indent="0">
              <a:spcBef>
                <a:spcPts val="900"/>
              </a:spcBef>
              <a:spcAft>
                <a:spcPts val="0"/>
              </a:spcAft>
              <a:buNone/>
              <a:tabLst>
                <a:tab pos="4305300" algn="r"/>
              </a:tabLst>
              <a:defRPr sz="1400" b="0"/>
            </a:lvl4pPr>
            <a:lvl5pPr marL="0" indent="0">
              <a:spcBef>
                <a:spcPts val="900"/>
              </a:spcBef>
              <a:spcAft>
                <a:spcPts val="0"/>
              </a:spcAft>
              <a:buNone/>
              <a:tabLst>
                <a:tab pos="4305300" algn="r"/>
              </a:tabLst>
              <a:defRPr sz="12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09BD985-671E-4103-929F-7E66D95D9A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78CF779-080B-4B64-A94C-CC1E40B575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403002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007754"/>
            <a:ext cx="11191875" cy="3930114"/>
          </a:xfrm>
        </p:spPr>
        <p:txBody>
          <a:bodyPr/>
          <a:lstStyle>
            <a:lvl1pPr>
              <a:spcBef>
                <a:spcPts val="900"/>
              </a:spcBef>
              <a:defRPr sz="2400"/>
            </a:lvl1pPr>
            <a:lvl2pPr>
              <a:spcBef>
                <a:spcPts val="900"/>
              </a:spcBef>
              <a:defRPr sz="24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231F20"/>
                </a:solidFill>
              </a:rPr>
              <a:t>Asurion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>
                <a:solidFill>
                  <a:srgbClr val="231F20"/>
                </a:solidFill>
              </a:rPr>
              <a:pPr/>
              <a:t>‹#›</a:t>
            </a:fld>
            <a:endParaRPr>
              <a:solidFill>
                <a:srgbClr val="231F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5688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2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007754"/>
            <a:ext cx="11191875" cy="3930114"/>
          </a:xfrm>
        </p:spPr>
        <p:txBody>
          <a:bodyPr/>
          <a:lstStyle>
            <a:lvl1pPr>
              <a:spcBef>
                <a:spcPts val="900"/>
              </a:spcBef>
              <a:defRPr sz="2400">
                <a:solidFill>
                  <a:schemeClr val="tx1"/>
                </a:solidFill>
              </a:defRPr>
            </a:lvl1pPr>
            <a:lvl2pPr>
              <a:spcBef>
                <a:spcPts val="900"/>
              </a:spcBef>
              <a:defRPr sz="24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t>Asurion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633217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9747BD37-3BEA-40D2-8343-2CB995B91822}"/>
              </a:ext>
            </a:extLst>
          </p:cNvPr>
          <p:cNvSpPr/>
          <p:nvPr/>
        </p:nvSpPr>
        <p:spPr>
          <a:xfrm>
            <a:off x="0" y="0"/>
            <a:ext cx="2286000" cy="17811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4C88EA-B1EA-4FA0-8279-C122B539260B}"/>
              </a:ext>
            </a:extLst>
          </p:cNvPr>
          <p:cNvSpPr/>
          <p:nvPr/>
        </p:nvSpPr>
        <p:spPr>
          <a:xfrm>
            <a:off x="0" y="1781175"/>
            <a:ext cx="2286000" cy="5076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781574" y="446744"/>
            <a:ext cx="6298925" cy="2147594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/>
            </a:br>
            <a:r>
              <a:t>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2789057" y="2762591"/>
            <a:ext cx="6291442" cy="67405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D17E435-7649-47BA-B3A0-AA4F57BBB1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2879" y="273607"/>
            <a:ext cx="1944810" cy="1428584"/>
          </a:xfrm>
        </p:spPr>
        <p:txBody>
          <a:bodyPr/>
          <a:lstStyle>
            <a:lvl1pPr algn="ctr">
              <a:spcBef>
                <a:spcPts val="0"/>
              </a:spcBef>
              <a:defRPr sz="8000" b="0">
                <a:solidFill>
                  <a:schemeClr val="bg1"/>
                </a:solidFill>
              </a:defRPr>
            </a:lvl1pPr>
          </a:lstStyle>
          <a:p>
            <a:pPr lvl="0"/>
            <a:r>
              <a:t>00</a:t>
            </a:r>
          </a:p>
        </p:txBody>
      </p:sp>
      <p:grpSp>
        <p:nvGrpSpPr>
          <p:cNvPr id="11" name="asurion logo">
            <a:extLst>
              <a:ext uri="{FF2B5EF4-FFF2-40B4-BE49-F238E27FC236}">
                <a16:creationId xmlns:a16="http://schemas.microsoft.com/office/drawing/2014/main" id="{A3635D92-5B65-2244-9F4A-197733B477F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1" y="6390186"/>
            <a:ext cx="918000" cy="213052"/>
            <a:chOff x="316" y="3952"/>
            <a:chExt cx="586" cy="136"/>
          </a:xfrm>
          <a:solidFill>
            <a:schemeClr val="bg1"/>
          </a:solidFill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B1F885A6-A84D-B844-8EE9-AD1C600D6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C9218EE1-3AC2-944C-A463-34EE6FAF23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9AAFFDFE-20B9-1A4C-BDD3-7E5C0F475D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D1C347CB-3AB6-2C40-9358-5826A5285D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9CF999C3-DB3C-4440-80E6-A0A67F465D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6B7765C3-5894-2748-B451-75EC0494E7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B723ACE3-78D1-A44F-9535-463CCF9DC8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4215270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0000"/>
            <a:ext cx="25860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1157396-66F3-4131-832E-DED0E7ABE71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93269" y="2520000"/>
            <a:ext cx="25860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0226DC9-EE88-4C38-BFC7-8CF1082EDBD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86475" y="2520000"/>
            <a:ext cx="25860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DF938D9-FDBF-4E2E-9864-B9A3DEB81AA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3F92F295-8332-4AF1-945C-EF34A8F3D0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151B05AA-B42D-4FA0-948C-88C9B0D745D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879681" y="2520000"/>
            <a:ext cx="25860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671200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9747BD37-3BEA-40D2-8343-2CB995B91822}"/>
              </a:ext>
            </a:extLst>
          </p:cNvPr>
          <p:cNvSpPr/>
          <p:nvPr/>
        </p:nvSpPr>
        <p:spPr>
          <a:xfrm>
            <a:off x="0" y="0"/>
            <a:ext cx="2286000" cy="17811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4C88EA-B1EA-4FA0-8279-C122B539260B}"/>
              </a:ext>
            </a:extLst>
          </p:cNvPr>
          <p:cNvSpPr/>
          <p:nvPr/>
        </p:nvSpPr>
        <p:spPr>
          <a:xfrm>
            <a:off x="0" y="1781175"/>
            <a:ext cx="2286000" cy="50768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781574" y="446744"/>
            <a:ext cx="6298925" cy="2147594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/>
            </a:br>
            <a:r>
              <a:t>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2789057" y="2762591"/>
            <a:ext cx="6291442" cy="67405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D17E435-7649-47BA-B3A0-AA4F57BBB1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2879" y="273607"/>
            <a:ext cx="1944810" cy="1428584"/>
          </a:xfrm>
        </p:spPr>
        <p:txBody>
          <a:bodyPr/>
          <a:lstStyle>
            <a:lvl1pPr algn="ctr">
              <a:spcBef>
                <a:spcPts val="0"/>
              </a:spcBef>
              <a:defRPr sz="8000" b="0">
                <a:solidFill>
                  <a:schemeClr val="bg1"/>
                </a:solidFill>
              </a:defRPr>
            </a:lvl1pPr>
          </a:lstStyle>
          <a:p>
            <a:pPr lvl="0"/>
            <a:r>
              <a:t>00</a:t>
            </a:r>
          </a:p>
        </p:txBody>
      </p:sp>
      <p:grpSp>
        <p:nvGrpSpPr>
          <p:cNvPr id="11" name="asurion logo">
            <a:extLst>
              <a:ext uri="{FF2B5EF4-FFF2-40B4-BE49-F238E27FC236}">
                <a16:creationId xmlns:a16="http://schemas.microsoft.com/office/drawing/2014/main" id="{FEC17685-B133-C345-A89F-A29C5966C31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1" y="6390186"/>
            <a:ext cx="918000" cy="213052"/>
            <a:chOff x="316" y="3952"/>
            <a:chExt cx="586" cy="136"/>
          </a:xfrm>
          <a:solidFill>
            <a:schemeClr val="bg1"/>
          </a:solidFill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1DA59301-3241-F348-BEBD-A6FFEADD16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239CCB2F-6595-5940-8A39-B3E30B1ABE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86BD6342-63E8-6241-9895-40B3FD18FD0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FF5FEC08-0FA6-3D4F-A889-0BBFE49D90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F318E898-1C1D-3046-88C4-16F050D7F0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9315519C-656E-724D-86B0-E6FFBFDFDB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81591244-1087-6E48-A901-C4FA89D203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2709708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9747BD37-3BEA-40D2-8343-2CB995B91822}"/>
              </a:ext>
            </a:extLst>
          </p:cNvPr>
          <p:cNvSpPr/>
          <p:nvPr/>
        </p:nvSpPr>
        <p:spPr>
          <a:xfrm>
            <a:off x="0" y="0"/>
            <a:ext cx="2286000" cy="17811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4C88EA-B1EA-4FA0-8279-C122B539260B}"/>
              </a:ext>
            </a:extLst>
          </p:cNvPr>
          <p:cNvSpPr/>
          <p:nvPr/>
        </p:nvSpPr>
        <p:spPr>
          <a:xfrm>
            <a:off x="0" y="1781175"/>
            <a:ext cx="2286000" cy="5076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781574" y="446744"/>
            <a:ext cx="6298925" cy="2147594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/>
            </a:br>
            <a:r>
              <a:t>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2789057" y="2762591"/>
            <a:ext cx="6291442" cy="67405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D17E435-7649-47BA-B3A0-AA4F57BBB1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2879" y="273607"/>
            <a:ext cx="1944810" cy="1428584"/>
          </a:xfrm>
        </p:spPr>
        <p:txBody>
          <a:bodyPr/>
          <a:lstStyle>
            <a:lvl1pPr algn="ctr">
              <a:spcBef>
                <a:spcPts val="0"/>
              </a:spcBef>
              <a:defRPr sz="8000" b="0">
                <a:solidFill>
                  <a:schemeClr val="bg1"/>
                </a:solidFill>
              </a:defRPr>
            </a:lvl1pPr>
          </a:lstStyle>
          <a:p>
            <a:pPr lvl="0"/>
            <a:r>
              <a:t>00</a:t>
            </a:r>
          </a:p>
        </p:txBody>
      </p:sp>
      <p:grpSp>
        <p:nvGrpSpPr>
          <p:cNvPr id="11" name="asurion logo">
            <a:extLst>
              <a:ext uri="{FF2B5EF4-FFF2-40B4-BE49-F238E27FC236}">
                <a16:creationId xmlns:a16="http://schemas.microsoft.com/office/drawing/2014/main" id="{C7358717-6715-9E44-A068-A7FC60CA96D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1" y="6390186"/>
            <a:ext cx="918000" cy="213052"/>
            <a:chOff x="316" y="3952"/>
            <a:chExt cx="586" cy="136"/>
          </a:xfrm>
          <a:solidFill>
            <a:schemeClr val="tx1"/>
          </a:solidFill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D3603A01-45DA-5A47-AD42-93373378A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AD2FF58D-2A25-9344-B27B-E66EF3E13A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47B47A3D-A2AE-B44B-9805-F10DDF88E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3ABE1799-2661-C346-88AD-D93AF4F49D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6DBBDC10-20A7-0643-A02A-86E0D5F830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1F1030EA-EEDA-3546-8BC7-FF764C45D49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2CB39BA2-CCB4-7C49-8EBE-81D3153223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6275953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A3B2CE-A3B3-4189-8B73-7FEBFEEA5D8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35141" y="446743"/>
            <a:ext cx="3778097" cy="269035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/>
            </a:br>
            <a:r>
              <a:t>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542624" y="3436643"/>
            <a:ext cx="3773609" cy="67405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grpSp>
        <p:nvGrpSpPr>
          <p:cNvPr id="11" name="asurion logo">
            <a:extLst>
              <a:ext uri="{FF2B5EF4-FFF2-40B4-BE49-F238E27FC236}">
                <a16:creationId xmlns:a16="http://schemas.microsoft.com/office/drawing/2014/main" id="{E1C5BE53-885F-4140-A2D0-795FBB7C123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1" y="6390186"/>
            <a:ext cx="918000" cy="213052"/>
            <a:chOff x="316" y="3952"/>
            <a:chExt cx="586" cy="136"/>
          </a:xfrm>
          <a:solidFill>
            <a:schemeClr val="tx1"/>
          </a:solidFill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188848DB-B87D-B041-A849-970DFD53FD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DCA25C55-1346-AA4E-B99A-B92DB24C92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24A4990-4E45-BE4E-8F5C-8D885585F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A0CCF30B-EF01-9241-89DE-6194C640FB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69220C85-DAA7-BC4E-818D-2170A0678C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56C6BD5A-A22D-1140-84E9-1700B1F47F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E4641BA2-7F1D-F94D-A723-FAF1B048BF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5043267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5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A3B2CE-A3B3-4189-8B73-7FEBFEEA5D8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35141" y="446743"/>
            <a:ext cx="3778097" cy="269035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/>
            </a:br>
            <a:r>
              <a:t>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542624" y="3436643"/>
            <a:ext cx="3773609" cy="67405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grpSp>
        <p:nvGrpSpPr>
          <p:cNvPr id="13" name="asurion logo">
            <a:extLst>
              <a:ext uri="{FF2B5EF4-FFF2-40B4-BE49-F238E27FC236}">
                <a16:creationId xmlns:a16="http://schemas.microsoft.com/office/drawing/2014/main" id="{BE011928-E47D-2041-8C67-C22638984F3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1" y="6390186"/>
            <a:ext cx="918000" cy="213052"/>
            <a:chOff x="316" y="3952"/>
            <a:chExt cx="586" cy="136"/>
          </a:xfrm>
          <a:solidFill>
            <a:schemeClr val="tx1"/>
          </a:solidFill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4CB7B69E-B273-0D48-BFDA-34E192F321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95280FB1-5A13-EF43-8314-29BF259ABB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481AAD2C-29B4-EC49-9316-7FAF697253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27323948-8731-5143-A257-D33E8C0C08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D78202CB-9C9D-B64F-B9BB-DDB5A81A7D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F29FBD53-E2A2-3247-85DE-C8D45F947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98F56C5E-7A69-EC45-BF50-0515ECB63A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1707361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ayou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0DFA8-C5FE-DB44-9BF9-1274EAD5637C}" type="slidenum">
              <a:rPr/>
              <a:t>‹#›</a:t>
            </a:fld>
            <a:endParaRPr/>
          </a:p>
        </p:txBody>
      </p:sp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sz="11500" b="0" i="0" spc="100">
                <a:solidFill>
                  <a:srgbClr val="FFFFFF"/>
                </a:solidFill>
                <a:latin typeface="+mj-lt"/>
              </a:rPr>
              <a:t>CONTENT</a:t>
            </a:r>
            <a:br>
              <a:rPr sz="11500" b="0" i="0" spc="100">
                <a:solidFill>
                  <a:srgbClr val="FFFFFF"/>
                </a:solidFill>
                <a:latin typeface="+mj-lt"/>
              </a:rPr>
            </a:br>
            <a:r>
              <a:rPr sz="11500" b="0" i="0" spc="100">
                <a:solidFill>
                  <a:srgbClr val="FFFFFF"/>
                </a:solidFill>
                <a:latin typeface="+mj-lt"/>
              </a:rPr>
              <a:t>LAYOU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0C9D3A-9A1A-C140-B0F7-9A8C63C4D4BD}"/>
              </a:ext>
            </a:extLst>
          </p:cNvPr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sz="1100" b="0" i="0" kern="1200">
                <a:solidFill>
                  <a:schemeClr val="bg1">
                    <a:lumMod val="85000"/>
                  </a:schemeClr>
                </a:solidFill>
                <a:effectLst/>
                <a:latin typeface="+mn-lt"/>
                <a:ea typeface="+mn-ea"/>
                <a:cs typeface="+mn-cs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89311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17775"/>
            <a:ext cx="11191875" cy="3373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B1C1BA4-C831-4BAE-8902-D8B44C11CD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1BD78D5-7CB0-4BF0-A1E0-CDD8450211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56565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0951"/>
            <a:ext cx="11191875" cy="33702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231F20"/>
                </a:solidFill>
              </a:rPr>
              <a:t>Asurion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>
                <a:solidFill>
                  <a:srgbClr val="231F20"/>
                </a:solidFill>
              </a:rPr>
              <a:pPr/>
              <a:t>‹#›</a:t>
            </a:fld>
            <a:endParaRPr>
              <a:solidFill>
                <a:srgbClr val="231F20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639103-1054-48CB-9C4A-BC221A9D489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0063" y="1481655"/>
            <a:ext cx="11191874" cy="78676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1050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1698625"/>
            <a:ext cx="11191875" cy="4192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231F20"/>
                </a:solidFill>
              </a:rPr>
              <a:t>Asurion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>
                <a:solidFill>
                  <a:srgbClr val="231F20"/>
                </a:solidFill>
              </a:rPr>
              <a:pPr/>
              <a:t>‹#›</a:t>
            </a:fld>
            <a:endParaRPr>
              <a:solidFill>
                <a:srgbClr val="231F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8810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0000"/>
            <a:ext cx="55959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231F20"/>
                </a:solidFill>
              </a:rPr>
              <a:t>Asurion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>
                <a:solidFill>
                  <a:srgbClr val="231F20"/>
                </a:solidFill>
              </a:rPr>
              <a:pPr/>
              <a:t>‹#›</a:t>
            </a:fld>
            <a:endParaRPr>
              <a:solidFill>
                <a:srgbClr val="231F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01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00063" y="2517775"/>
            <a:ext cx="5324400" cy="3373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6367537" y="2517775"/>
            <a:ext cx="5324400" cy="3373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5FB212-C07C-47E4-B111-95662FEA043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F383D8-C510-4C92-8A54-DA05FA7AFF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51727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ne Content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0000"/>
            <a:ext cx="55959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5DBBB8B-648D-4197-97B9-AE71487D25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5924E6F-6328-463D-B419-65509C9FE4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01475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0000"/>
            <a:ext cx="35893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1157396-66F3-4131-832E-DED0E7ABE71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01332" y="2520000"/>
            <a:ext cx="35893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0226DC9-EE88-4C38-BFC7-8CF1082EDBD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02601" y="2520000"/>
            <a:ext cx="35893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DF938D9-FDBF-4E2E-9864-B9A3DEB81AA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3F92F295-8332-4AF1-945C-EF34A8F3D0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07181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0000"/>
            <a:ext cx="25860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1157396-66F3-4131-832E-DED0E7ABE71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93269" y="2520000"/>
            <a:ext cx="25860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0226DC9-EE88-4C38-BFC7-8CF1082EDBD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86475" y="2520000"/>
            <a:ext cx="25860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DF938D9-FDBF-4E2E-9864-B9A3DEB81AA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3F92F295-8332-4AF1-945C-EF34A8F3D0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151B05AA-B42D-4FA0-948C-88C9B0D745D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879681" y="2520000"/>
            <a:ext cx="25860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60367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ne Content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0000"/>
            <a:ext cx="55959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5DBBB8B-648D-4197-97B9-AE71487D25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5924E6F-6328-463D-B419-65509C9FE4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303115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00063" y="2517775"/>
            <a:ext cx="5324400" cy="3373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6367537" y="2517775"/>
            <a:ext cx="5324400" cy="3373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5FB212-C07C-47E4-B111-95662FEA043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F383D8-C510-4C92-8A54-DA05FA7AFF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543677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ntent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0000"/>
            <a:ext cx="35893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1157396-66F3-4131-832E-DED0E7ABE71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01332" y="2520000"/>
            <a:ext cx="35893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0226DC9-EE88-4C38-BFC7-8CF1082EDBD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02601" y="2520000"/>
            <a:ext cx="35893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2DF5BAB-DC7D-4C2E-822E-C0828F8BD7F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C5A2B2A-4207-4088-8306-70D21909D81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096477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our Content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0000"/>
            <a:ext cx="25860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1157396-66F3-4131-832E-DED0E7ABE71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93269" y="2520000"/>
            <a:ext cx="25860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0226DC9-EE88-4C38-BFC7-8CF1082EDBD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86475" y="2520000"/>
            <a:ext cx="25860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DF938D9-FDBF-4E2E-9864-B9A3DEB81AA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3F92F295-8332-4AF1-945C-EF34A8F3D0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151B05AA-B42D-4FA0-948C-88C9B0D745D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879681" y="2520000"/>
            <a:ext cx="25860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109826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, Conten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0A5685-ADC9-4197-AAEB-665323328B34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5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3689"/>
            <a:ext cx="5056675" cy="3329423"/>
          </a:xfrm>
        </p:spPr>
        <p:txBody>
          <a:bodyPr spcCol="540000"/>
          <a:lstStyle>
            <a:lvl2pPr>
              <a:spcBef>
                <a:spcPts val="300"/>
              </a:spcBef>
              <a:defRPr/>
            </a:lvl2pPr>
            <a:lvl3pPr>
              <a:spcBef>
                <a:spcPts val="6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231F20"/>
                </a:solidFill>
              </a:rPr>
              <a:t>Asurion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>
                <a:solidFill>
                  <a:srgbClr val="231F20"/>
                </a:solidFill>
              </a:rPr>
              <a:pPr/>
              <a:t>‹#›</a:t>
            </a:fld>
            <a:endParaRPr>
              <a:solidFill>
                <a:srgbClr val="231F20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639103-1054-48CB-9C4A-BC221A9D489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0063" y="1481655"/>
            <a:ext cx="5056675" cy="78676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275A3245-01FF-42DD-A6D1-85D456773FFD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499225" y="1041400"/>
            <a:ext cx="5192713" cy="4849813"/>
          </a:xfrm>
        </p:spPr>
        <p:txBody>
          <a:bodyPr/>
          <a:lstStyle/>
          <a:p>
            <a:r>
              <a:rPr lang="en-US"/>
              <a:t>Click icon to add chart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763945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, Content and Char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0A5685-ADC9-4197-AAEB-665323328B34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3689"/>
            <a:ext cx="5056675" cy="3329423"/>
          </a:xfrm>
        </p:spPr>
        <p:txBody>
          <a:bodyPr numCol="1" spcCol="540000"/>
          <a:lstStyle>
            <a:lvl2pPr>
              <a:spcBef>
                <a:spcPts val="300"/>
              </a:spcBef>
              <a:defRPr/>
            </a:lvl2pPr>
            <a:lvl3pPr>
              <a:spcBef>
                <a:spcPts val="6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t>Asurion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639103-1054-48CB-9C4A-BC221A9D489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0063" y="1481655"/>
            <a:ext cx="5056675" cy="78676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275A3245-01FF-42DD-A6D1-85D456773FFD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499225" y="1041400"/>
            <a:ext cx="5192713" cy="484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584992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3800CAF-8C92-4417-9180-874FBE367E0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</p:spPr>
        <p:txBody>
          <a:bodyPr anchor="ctr"/>
          <a:lstStyle/>
          <a:p>
            <a:r>
              <a:rPr lang="en-US"/>
              <a:t>Click to add image&gt;</a:t>
            </a: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>
            <a:lvl1pPr>
              <a:defRPr sz="32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3689"/>
            <a:ext cx="5056675" cy="3329423"/>
          </a:xfrm>
        </p:spPr>
        <p:txBody>
          <a:bodyPr spcCol="540000"/>
          <a:lstStyle>
            <a:lvl2pPr>
              <a:spcBef>
                <a:spcPts val="300"/>
              </a:spcBef>
              <a:defRPr/>
            </a:lvl2pPr>
            <a:lvl3pPr>
              <a:spcBef>
                <a:spcPts val="6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639103-1054-48CB-9C4A-BC221A9D489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0063" y="1481655"/>
            <a:ext cx="5056675" cy="78676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06CD7DF-C4F2-B049-BE3C-8BD9236EDF6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6B3E6E2-23A9-4B4F-A714-771A9FF980F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26798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053720D-9F4D-4684-9327-5523A748B8A3}"/>
              </a:ext>
            </a:extLst>
          </p:cNvPr>
          <p:cNvCxnSpPr/>
          <p:nvPr/>
        </p:nvCxnSpPr>
        <p:spPr>
          <a:xfrm>
            <a:off x="500062" y="4316231"/>
            <a:ext cx="5472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BDE24C3-99CC-479E-BF50-328B4BB36E5D}"/>
              </a:ext>
            </a:extLst>
          </p:cNvPr>
          <p:cNvCxnSpPr/>
          <p:nvPr/>
        </p:nvCxnSpPr>
        <p:spPr>
          <a:xfrm>
            <a:off x="6223001" y="4316231"/>
            <a:ext cx="5472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567A20FC-53DE-40AE-9086-6CA177CE7A0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0062" y="1788962"/>
            <a:ext cx="5472000" cy="234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44F5ED6C-5729-4BCA-B641-0DE3EA8059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23001" y="1788962"/>
            <a:ext cx="5472000" cy="234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D5707C-19B8-4344-919E-79F1D3BD71A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6308FA-1900-4A15-B816-41EE190CD43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23BD6D-CC29-4E45-990E-0D516E8F9C2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0063" y="4419255"/>
            <a:ext cx="5471999" cy="14624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1DABEC5-ADD1-4364-9B7B-AEB94D1E077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23001" y="4419255"/>
            <a:ext cx="5471999" cy="14624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687919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00063" y="2517775"/>
            <a:ext cx="5324400" cy="3373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6367537" y="2517775"/>
            <a:ext cx="5324400" cy="3373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5FB212-C07C-47E4-B111-95662FEA043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F383D8-C510-4C92-8A54-DA05FA7AFF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5989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mag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053720D-9F4D-4684-9327-5523A748B8A3}"/>
              </a:ext>
            </a:extLst>
          </p:cNvPr>
          <p:cNvCxnSpPr/>
          <p:nvPr/>
        </p:nvCxnSpPr>
        <p:spPr>
          <a:xfrm>
            <a:off x="500063" y="4316231"/>
            <a:ext cx="3562351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BDE24C3-99CC-479E-BF50-328B4BB36E5D}"/>
              </a:ext>
            </a:extLst>
          </p:cNvPr>
          <p:cNvCxnSpPr/>
          <p:nvPr/>
        </p:nvCxnSpPr>
        <p:spPr>
          <a:xfrm>
            <a:off x="4314825" y="4316231"/>
            <a:ext cx="3562351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307E561-4A26-4F9F-8A63-FD201FA0C0FD}"/>
              </a:ext>
            </a:extLst>
          </p:cNvPr>
          <p:cNvCxnSpPr/>
          <p:nvPr/>
        </p:nvCxnSpPr>
        <p:spPr>
          <a:xfrm>
            <a:off x="8129587" y="4316231"/>
            <a:ext cx="3562351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567A20FC-53DE-40AE-9086-6CA177CE7A0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0063" y="1788962"/>
            <a:ext cx="3562350" cy="234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44F5ED6C-5729-4BCA-B641-0DE3EA8059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14826" y="1788962"/>
            <a:ext cx="3562350" cy="234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669F2190-4991-4ABB-B5C1-8535467AFA5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29588" y="1788962"/>
            <a:ext cx="3562350" cy="234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22F74907-9901-41D8-B02E-D5156ACAC59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CD76F14-B7C1-4783-A9BB-4763BFA8875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D65ED8-5F56-41D5-B431-89361D00D6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0064" y="4419255"/>
            <a:ext cx="3600000" cy="14624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4799D4C9-22E1-4D31-B1A1-BDD184F710E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14826" y="4419255"/>
            <a:ext cx="3600000" cy="14624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1E8CE649-5034-45B6-93BA-28668391D8E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29589" y="4419255"/>
            <a:ext cx="3600000" cy="14624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279890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22F74907-9901-41D8-B02E-D5156ACAC59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CD76F14-B7C1-4783-A9BB-4763BFA8875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86DF79B9-639E-4799-815D-476F130D30D5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xfrm>
            <a:off x="500063" y="1481655"/>
            <a:ext cx="5056675" cy="78676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24C50ECB-AA26-4399-9645-112A108CA439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500063" y="2658741"/>
            <a:ext cx="2635250" cy="2127572"/>
          </a:xfrm>
        </p:spPr>
        <p:txBody>
          <a:bodyPr/>
          <a:lstStyle/>
          <a:p>
            <a:r>
              <a:rPr lang="en-US"/>
              <a:t>Click icon to add chart</a:t>
            </a:r>
            <a:endParaRPr/>
          </a:p>
        </p:txBody>
      </p:sp>
      <p:sp>
        <p:nvSpPr>
          <p:cNvPr id="24" name="Chart Placeholder 4">
            <a:extLst>
              <a:ext uri="{FF2B5EF4-FFF2-40B4-BE49-F238E27FC236}">
                <a16:creationId xmlns:a16="http://schemas.microsoft.com/office/drawing/2014/main" id="{5F3EB2C3-AC8E-4242-A032-7D9830F6FEBA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3280586" y="2658741"/>
            <a:ext cx="2635250" cy="2127572"/>
          </a:xfrm>
        </p:spPr>
        <p:txBody>
          <a:bodyPr/>
          <a:lstStyle/>
          <a:p>
            <a:r>
              <a:rPr lang="en-US"/>
              <a:t>Click icon to add chart</a:t>
            </a:r>
            <a:endParaRPr/>
          </a:p>
        </p:txBody>
      </p:sp>
      <p:sp>
        <p:nvSpPr>
          <p:cNvPr id="26" name="Chart Placeholder 4">
            <a:extLst>
              <a:ext uri="{FF2B5EF4-FFF2-40B4-BE49-F238E27FC236}">
                <a16:creationId xmlns:a16="http://schemas.microsoft.com/office/drawing/2014/main" id="{766F0A22-4D5D-4D16-9178-1D5760AEA8C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089101" y="2658741"/>
            <a:ext cx="2635250" cy="2127572"/>
          </a:xfrm>
        </p:spPr>
        <p:txBody>
          <a:bodyPr/>
          <a:lstStyle/>
          <a:p>
            <a:r>
              <a:rPr lang="en-US"/>
              <a:t>Click icon to add chart</a:t>
            </a:r>
            <a:endParaRPr/>
          </a:p>
        </p:txBody>
      </p:sp>
      <p:sp>
        <p:nvSpPr>
          <p:cNvPr id="28" name="Chart Placeholder 4">
            <a:extLst>
              <a:ext uri="{FF2B5EF4-FFF2-40B4-BE49-F238E27FC236}">
                <a16:creationId xmlns:a16="http://schemas.microsoft.com/office/drawing/2014/main" id="{398AB6F5-E5DE-4AB5-9469-650F5C7BC02F}"/>
              </a:ext>
            </a:extLst>
          </p:cNvPr>
          <p:cNvSpPr>
            <a:spLocks noGrp="1"/>
          </p:cNvSpPr>
          <p:nvPr>
            <p:ph type="chart" sz="quarter" idx="29"/>
          </p:nvPr>
        </p:nvSpPr>
        <p:spPr>
          <a:xfrm>
            <a:off x="8897615" y="2658741"/>
            <a:ext cx="2635250" cy="2127572"/>
          </a:xfrm>
        </p:spPr>
        <p:txBody>
          <a:bodyPr/>
          <a:lstStyle/>
          <a:p>
            <a:r>
              <a:rPr lang="en-US"/>
              <a:t>Click icon to add chart</a:t>
            </a:r>
            <a:endParaRPr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A20137-9C0C-4DA4-BD4C-2707DA74673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00064" y="4861249"/>
            <a:ext cx="2635021" cy="1020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AFBC60B-11E0-4694-8DBF-0DD62EDB6B4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280587" y="4861249"/>
            <a:ext cx="2635021" cy="1020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EF1E8D3-913B-4B30-9DFE-B66976F583F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089101" y="4861249"/>
            <a:ext cx="2635021" cy="1020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7643B64F-FD95-47DA-A080-4E4F73C9AFE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897616" y="4861249"/>
            <a:ext cx="2635021" cy="1020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11470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2"/>
          <p:cNvSpPr>
            <a:spLocks noGrp="1"/>
          </p:cNvSpPr>
          <p:nvPr>
            <p:ph type="body" idx="13"/>
          </p:nvPr>
        </p:nvSpPr>
        <p:spPr>
          <a:xfrm>
            <a:off x="500063" y="1483200"/>
            <a:ext cx="5470526" cy="786765"/>
          </a:xfrm>
        </p:spPr>
        <p:txBody>
          <a:bodyPr anchor="t" anchorCtr="0"/>
          <a:lstStyle>
            <a:lvl1pPr marL="0" indent="0"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4"/>
          </p:nvPr>
        </p:nvSpPr>
        <p:spPr>
          <a:xfrm>
            <a:off x="500063" y="2520950"/>
            <a:ext cx="5470525" cy="3370263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5"/>
          </p:nvPr>
        </p:nvSpPr>
        <p:spPr>
          <a:xfrm>
            <a:off x="6221414" y="2520950"/>
            <a:ext cx="5471476" cy="3370263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F1517A8-590F-479B-8350-B8C027A8A9C5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221412" y="1483200"/>
            <a:ext cx="5471477" cy="786765"/>
          </a:xfrm>
        </p:spPr>
        <p:txBody>
          <a:bodyPr anchor="t" anchorCtr="0"/>
          <a:lstStyle>
            <a:lvl1pPr marL="0" indent="0"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6FA19B-A4D4-453E-A2F4-59F228B33EC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1EE0A0-3F25-4EDE-BBFD-3C1C36E0BBA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27008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Qu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C235105-E2BB-B241-872E-8B764C2735C7}"/>
              </a:ext>
            </a:extLst>
          </p:cNvPr>
          <p:cNvSpPr/>
          <p:nvPr/>
        </p:nvSpPr>
        <p:spPr>
          <a:xfrm>
            <a:off x="6096000" y="0"/>
            <a:ext cx="3050607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8EFCE1D-E624-4B47-B86B-57779E9F52FC}"/>
              </a:ext>
            </a:extLst>
          </p:cNvPr>
          <p:cNvSpPr/>
          <p:nvPr/>
        </p:nvSpPr>
        <p:spPr>
          <a:xfrm>
            <a:off x="9141393" y="0"/>
            <a:ext cx="3050607" cy="3429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9400735-3BA6-1C44-B9F2-D8576A3F811D}"/>
              </a:ext>
            </a:extLst>
          </p:cNvPr>
          <p:cNvSpPr/>
          <p:nvPr/>
        </p:nvSpPr>
        <p:spPr>
          <a:xfrm>
            <a:off x="6096000" y="3429000"/>
            <a:ext cx="3050607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3CAFAB7-8E16-754B-90EC-4F2AF27FB0CC}"/>
              </a:ext>
            </a:extLst>
          </p:cNvPr>
          <p:cNvSpPr/>
          <p:nvPr/>
        </p:nvSpPr>
        <p:spPr>
          <a:xfrm>
            <a:off x="9141393" y="3429000"/>
            <a:ext cx="3050607" cy="3429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3689"/>
            <a:ext cx="5056675" cy="3329423"/>
          </a:xfrm>
        </p:spPr>
        <p:txBody>
          <a:bodyPr spcCol="54000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t>Asurion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046C3961-C530-D643-976B-752E6A3E6D3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43361" y="2144693"/>
            <a:ext cx="2355884" cy="59979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E06E42E7-38E9-9445-A365-51FFE703735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43361" y="5395158"/>
            <a:ext cx="2355884" cy="59979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ECAB8C3D-C645-6B4F-8943-0C2FBE84B98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488754" y="2144693"/>
            <a:ext cx="2355884" cy="59979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3601AE7F-A10B-EB41-8F5A-F2B00DA6B65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88754" y="5395158"/>
            <a:ext cx="2355884" cy="59979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FD3E78BC-709E-E147-87C2-021736A7535D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801042" y="466344"/>
            <a:ext cx="1640752" cy="1495306"/>
          </a:xfrm>
        </p:spPr>
        <p:txBody>
          <a:bodyPr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t>Content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ED8ABA53-CD5D-5D4A-8042-B0835E310760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9851649" y="466344"/>
            <a:ext cx="1640752" cy="1495306"/>
          </a:xfrm>
        </p:spPr>
        <p:txBody>
          <a:bodyPr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t>Content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45E06A9-602E-0A44-84B6-62D407BE4F57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6801042" y="3716809"/>
            <a:ext cx="1640752" cy="1495306"/>
          </a:xfrm>
        </p:spPr>
        <p:txBody>
          <a:bodyPr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t>Content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D79F0669-4F9E-E646-A67C-2FCEBFA523D4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9851649" y="3716809"/>
            <a:ext cx="1640752" cy="1495306"/>
          </a:xfrm>
        </p:spPr>
        <p:txBody>
          <a:bodyPr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4200685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Content and Qu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3689"/>
            <a:ext cx="5056675" cy="3329423"/>
          </a:xfrm>
        </p:spPr>
        <p:txBody>
          <a:bodyPr spcCol="54000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t>Asurion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4F72CA0-107F-4A4A-862E-98C88AC732F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3044825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687F16B1-C282-434C-AD8F-D67D33B93ED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47175" y="0"/>
            <a:ext cx="3044825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674F1A84-A715-1642-9A6D-724C0D4B3C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3044825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22454BBB-552C-1443-823A-2C496CBE510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47175" y="3429000"/>
            <a:ext cx="3044825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25498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4C8F12B-D471-4524-A21D-E2E0C4A3A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203B0C-11E9-4FDC-A004-C78D9EB13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19001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5DBBB8B-648D-4197-97B9-AE71487D25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5924E6F-6328-463D-B419-65509C9FE4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59937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598678-86C0-48BA-A39A-FF8C08834E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1E9215-17E8-49B1-A387-1E2239FBC9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39485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with iPh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monitor&#10;&#10;Description automatically generated">
            <a:extLst>
              <a:ext uri="{FF2B5EF4-FFF2-40B4-BE49-F238E27FC236}">
                <a16:creationId xmlns:a16="http://schemas.microsoft.com/office/drawing/2014/main" id="{7128FF66-3EA6-42D2-A583-39E18B57E9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914" y="1095375"/>
            <a:ext cx="2962122" cy="4536000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00064" y="5288239"/>
            <a:ext cx="3600000" cy="783091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3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314826" y="5288239"/>
            <a:ext cx="3600000" cy="783091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1ECDB9F2-27F4-42DB-89BF-A79294975B4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29588" y="5288239"/>
            <a:ext cx="3600000" cy="783091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5179A366-3852-4680-B35F-C5CAF0ED315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65109" y="1810291"/>
            <a:ext cx="1452882" cy="3088800"/>
          </a:xfrm>
          <a:custGeom>
            <a:avLst/>
            <a:gdLst>
              <a:gd name="connsiteX0" fmla="*/ 202870 w 1452882"/>
              <a:gd name="connsiteY0" fmla="*/ 0 h 3088800"/>
              <a:gd name="connsiteX1" fmla="*/ 307352 w 1452882"/>
              <a:gd name="connsiteY1" fmla="*/ 0 h 3088800"/>
              <a:gd name="connsiteX2" fmla="*/ 321573 w 1452882"/>
              <a:gd name="connsiteY2" fmla="*/ 16508 h 3088800"/>
              <a:gd name="connsiteX3" fmla="*/ 363366 w 1452882"/>
              <a:gd name="connsiteY3" fmla="*/ 98181 h 3088800"/>
              <a:gd name="connsiteX4" fmla="*/ 416768 w 1452882"/>
              <a:gd name="connsiteY4" fmla="*/ 106580 h 3088800"/>
              <a:gd name="connsiteX5" fmla="*/ 1056431 w 1452882"/>
              <a:gd name="connsiteY5" fmla="*/ 106580 h 3088800"/>
              <a:gd name="connsiteX6" fmla="*/ 1095902 w 1452882"/>
              <a:gd name="connsiteY6" fmla="*/ 87755 h 3088800"/>
              <a:gd name="connsiteX7" fmla="*/ 1130439 w 1452882"/>
              <a:gd name="connsiteY7" fmla="*/ 9847 h 3088800"/>
              <a:gd name="connsiteX8" fmla="*/ 1147562 w 1452882"/>
              <a:gd name="connsiteY8" fmla="*/ 579 h 3088800"/>
              <a:gd name="connsiteX9" fmla="*/ 1262202 w 1452882"/>
              <a:gd name="connsiteY9" fmla="*/ 579 h 3088800"/>
              <a:gd name="connsiteX10" fmla="*/ 1389032 w 1452882"/>
              <a:gd name="connsiteY10" fmla="*/ 62558 h 3088800"/>
              <a:gd name="connsiteX11" fmla="*/ 1440112 w 1452882"/>
              <a:gd name="connsiteY11" fmla="*/ 140466 h 3088800"/>
              <a:gd name="connsiteX12" fmla="*/ 1452882 w 1452882"/>
              <a:gd name="connsiteY12" fmla="*/ 200128 h 3088800"/>
              <a:gd name="connsiteX13" fmla="*/ 1452882 w 1452882"/>
              <a:gd name="connsiteY13" fmla="*/ 2893886 h 3088800"/>
              <a:gd name="connsiteX14" fmla="*/ 1400061 w 1452882"/>
              <a:gd name="connsiteY14" fmla="*/ 3015816 h 3088800"/>
              <a:gd name="connsiteX15" fmla="*/ 1327794 w 1452882"/>
              <a:gd name="connsiteY15" fmla="*/ 3069396 h 3088800"/>
              <a:gd name="connsiteX16" fmla="*/ 1250013 w 1452882"/>
              <a:gd name="connsiteY16" fmla="*/ 3088800 h 3088800"/>
              <a:gd name="connsiteX17" fmla="*/ 195904 w 1452882"/>
              <a:gd name="connsiteY17" fmla="*/ 3088800 h 3088800"/>
              <a:gd name="connsiteX18" fmla="*/ 120445 w 1452882"/>
              <a:gd name="connsiteY18" fmla="*/ 3067368 h 3088800"/>
              <a:gd name="connsiteX19" fmla="*/ 48178 w 1452882"/>
              <a:gd name="connsiteY19" fmla="*/ 3008865 h 3088800"/>
              <a:gd name="connsiteX20" fmla="*/ 0 w 1452882"/>
              <a:gd name="connsiteY20" fmla="*/ 2877957 h 3088800"/>
              <a:gd name="connsiteX21" fmla="*/ 871 w 1452882"/>
              <a:gd name="connsiteY21" fmla="*/ 204472 h 3088800"/>
              <a:gd name="connsiteX22" fmla="*/ 17704 w 1452882"/>
              <a:gd name="connsiteY22" fmla="*/ 126854 h 3088800"/>
              <a:gd name="connsiteX23" fmla="*/ 68784 w 1452882"/>
              <a:gd name="connsiteY23" fmla="*/ 58503 h 3088800"/>
              <a:gd name="connsiteX24" fmla="*/ 202870 w 1452882"/>
              <a:gd name="connsiteY24" fmla="*/ 0 h 30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52882" h="3088800">
                <a:moveTo>
                  <a:pt x="202870" y="0"/>
                </a:moveTo>
                <a:cubicBezTo>
                  <a:pt x="307352" y="0"/>
                  <a:pt x="307352" y="0"/>
                  <a:pt x="307352" y="0"/>
                </a:cubicBezTo>
                <a:cubicBezTo>
                  <a:pt x="307352" y="0"/>
                  <a:pt x="317220" y="2896"/>
                  <a:pt x="321573" y="16508"/>
                </a:cubicBezTo>
                <a:cubicBezTo>
                  <a:pt x="325926" y="30121"/>
                  <a:pt x="339567" y="82542"/>
                  <a:pt x="363366" y="98181"/>
                </a:cubicBezTo>
                <a:cubicBezTo>
                  <a:pt x="382231" y="110345"/>
                  <a:pt x="416768" y="106580"/>
                  <a:pt x="416768" y="106580"/>
                </a:cubicBezTo>
                <a:cubicBezTo>
                  <a:pt x="1056431" y="106580"/>
                  <a:pt x="1056431" y="106580"/>
                  <a:pt x="1056431" y="106580"/>
                </a:cubicBezTo>
                <a:cubicBezTo>
                  <a:pt x="1056431" y="106580"/>
                  <a:pt x="1080229" y="107739"/>
                  <a:pt x="1095902" y="87755"/>
                </a:cubicBezTo>
                <a:cubicBezTo>
                  <a:pt x="1111574" y="68061"/>
                  <a:pt x="1130439" y="9847"/>
                  <a:pt x="1130439" y="9847"/>
                </a:cubicBezTo>
                <a:cubicBezTo>
                  <a:pt x="1130439" y="9847"/>
                  <a:pt x="1133051" y="579"/>
                  <a:pt x="1147562" y="579"/>
                </a:cubicBezTo>
                <a:cubicBezTo>
                  <a:pt x="1162364" y="579"/>
                  <a:pt x="1255237" y="579"/>
                  <a:pt x="1262202" y="579"/>
                </a:cubicBezTo>
                <a:cubicBezTo>
                  <a:pt x="1265395" y="579"/>
                  <a:pt x="1344337" y="15060"/>
                  <a:pt x="1389032" y="62558"/>
                </a:cubicBezTo>
                <a:cubicBezTo>
                  <a:pt x="1411089" y="86017"/>
                  <a:pt x="1431115" y="114400"/>
                  <a:pt x="1440112" y="140466"/>
                </a:cubicBezTo>
                <a:cubicBezTo>
                  <a:pt x="1451431" y="172324"/>
                  <a:pt x="1452882" y="200128"/>
                  <a:pt x="1452882" y="200128"/>
                </a:cubicBezTo>
                <a:cubicBezTo>
                  <a:pt x="1452882" y="2893886"/>
                  <a:pt x="1452882" y="2893886"/>
                  <a:pt x="1452882" y="2893886"/>
                </a:cubicBezTo>
                <a:cubicBezTo>
                  <a:pt x="1452882" y="2893886"/>
                  <a:pt x="1443305" y="2974690"/>
                  <a:pt x="1400061" y="3015816"/>
                </a:cubicBezTo>
                <a:cubicBezTo>
                  <a:pt x="1373360" y="3041302"/>
                  <a:pt x="1353334" y="3058100"/>
                  <a:pt x="1327794" y="3069396"/>
                </a:cubicBezTo>
                <a:cubicBezTo>
                  <a:pt x="1287742" y="3087352"/>
                  <a:pt x="1250013" y="3088800"/>
                  <a:pt x="1250013" y="3088800"/>
                </a:cubicBezTo>
                <a:cubicBezTo>
                  <a:pt x="195904" y="3088800"/>
                  <a:pt x="195904" y="3088800"/>
                  <a:pt x="195904" y="3088800"/>
                </a:cubicBezTo>
                <a:cubicBezTo>
                  <a:pt x="195904" y="3088800"/>
                  <a:pt x="157013" y="3084456"/>
                  <a:pt x="120445" y="3067368"/>
                </a:cubicBezTo>
                <a:cubicBezTo>
                  <a:pt x="85908" y="3051439"/>
                  <a:pt x="72267" y="3034641"/>
                  <a:pt x="48178" y="3008865"/>
                </a:cubicBezTo>
                <a:cubicBezTo>
                  <a:pt x="581" y="2957602"/>
                  <a:pt x="0" y="2877957"/>
                  <a:pt x="0" y="2877957"/>
                </a:cubicBezTo>
                <a:lnTo>
                  <a:pt x="871" y="204472"/>
                </a:lnTo>
                <a:cubicBezTo>
                  <a:pt x="871" y="204472"/>
                  <a:pt x="1161" y="167111"/>
                  <a:pt x="17704" y="126854"/>
                </a:cubicBezTo>
                <a:cubicBezTo>
                  <a:pt x="27572" y="102815"/>
                  <a:pt x="49049" y="78198"/>
                  <a:pt x="68784" y="58503"/>
                </a:cubicBezTo>
                <a:cubicBezTo>
                  <a:pt x="117252" y="9268"/>
                  <a:pt x="202870" y="0"/>
                  <a:pt x="202870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22F74907-9901-41D8-B02E-D5156ACAC59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CD76F14-B7C1-4783-A9BB-4763BFA8875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pic>
        <p:nvPicPr>
          <p:cNvPr id="27" name="Picture 26" descr="A picture containing monitor&#10;&#10;Description automatically generated">
            <a:extLst>
              <a:ext uri="{FF2B5EF4-FFF2-40B4-BE49-F238E27FC236}">
                <a16:creationId xmlns:a16="http://schemas.microsoft.com/office/drawing/2014/main" id="{154FF016-7F02-472C-B9A6-FD4F50DF36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3824" y="1095375"/>
            <a:ext cx="2962122" cy="4536000"/>
          </a:xfrm>
          <a:prstGeom prst="rect">
            <a:avLst/>
          </a:prstGeom>
        </p:spPr>
      </p:pic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2EEBB07D-0B9A-4E6E-8341-D43B950E589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317019" y="1810291"/>
            <a:ext cx="1452882" cy="3088800"/>
          </a:xfrm>
          <a:custGeom>
            <a:avLst/>
            <a:gdLst>
              <a:gd name="connsiteX0" fmla="*/ 202870 w 1452882"/>
              <a:gd name="connsiteY0" fmla="*/ 0 h 3088800"/>
              <a:gd name="connsiteX1" fmla="*/ 307352 w 1452882"/>
              <a:gd name="connsiteY1" fmla="*/ 0 h 3088800"/>
              <a:gd name="connsiteX2" fmla="*/ 321573 w 1452882"/>
              <a:gd name="connsiteY2" fmla="*/ 16508 h 3088800"/>
              <a:gd name="connsiteX3" fmla="*/ 363366 w 1452882"/>
              <a:gd name="connsiteY3" fmla="*/ 98181 h 3088800"/>
              <a:gd name="connsiteX4" fmla="*/ 416768 w 1452882"/>
              <a:gd name="connsiteY4" fmla="*/ 106580 h 3088800"/>
              <a:gd name="connsiteX5" fmla="*/ 1056431 w 1452882"/>
              <a:gd name="connsiteY5" fmla="*/ 106580 h 3088800"/>
              <a:gd name="connsiteX6" fmla="*/ 1095902 w 1452882"/>
              <a:gd name="connsiteY6" fmla="*/ 87755 h 3088800"/>
              <a:gd name="connsiteX7" fmla="*/ 1130439 w 1452882"/>
              <a:gd name="connsiteY7" fmla="*/ 9847 h 3088800"/>
              <a:gd name="connsiteX8" fmla="*/ 1147562 w 1452882"/>
              <a:gd name="connsiteY8" fmla="*/ 579 h 3088800"/>
              <a:gd name="connsiteX9" fmla="*/ 1262202 w 1452882"/>
              <a:gd name="connsiteY9" fmla="*/ 579 h 3088800"/>
              <a:gd name="connsiteX10" fmla="*/ 1389032 w 1452882"/>
              <a:gd name="connsiteY10" fmla="*/ 62558 h 3088800"/>
              <a:gd name="connsiteX11" fmla="*/ 1440112 w 1452882"/>
              <a:gd name="connsiteY11" fmla="*/ 140466 h 3088800"/>
              <a:gd name="connsiteX12" fmla="*/ 1452882 w 1452882"/>
              <a:gd name="connsiteY12" fmla="*/ 200128 h 3088800"/>
              <a:gd name="connsiteX13" fmla="*/ 1452882 w 1452882"/>
              <a:gd name="connsiteY13" fmla="*/ 2893886 h 3088800"/>
              <a:gd name="connsiteX14" fmla="*/ 1400061 w 1452882"/>
              <a:gd name="connsiteY14" fmla="*/ 3015816 h 3088800"/>
              <a:gd name="connsiteX15" fmla="*/ 1327794 w 1452882"/>
              <a:gd name="connsiteY15" fmla="*/ 3069396 h 3088800"/>
              <a:gd name="connsiteX16" fmla="*/ 1250013 w 1452882"/>
              <a:gd name="connsiteY16" fmla="*/ 3088800 h 3088800"/>
              <a:gd name="connsiteX17" fmla="*/ 195904 w 1452882"/>
              <a:gd name="connsiteY17" fmla="*/ 3088800 h 3088800"/>
              <a:gd name="connsiteX18" fmla="*/ 120445 w 1452882"/>
              <a:gd name="connsiteY18" fmla="*/ 3067368 h 3088800"/>
              <a:gd name="connsiteX19" fmla="*/ 48178 w 1452882"/>
              <a:gd name="connsiteY19" fmla="*/ 3008865 h 3088800"/>
              <a:gd name="connsiteX20" fmla="*/ 0 w 1452882"/>
              <a:gd name="connsiteY20" fmla="*/ 2877957 h 3088800"/>
              <a:gd name="connsiteX21" fmla="*/ 871 w 1452882"/>
              <a:gd name="connsiteY21" fmla="*/ 204472 h 3088800"/>
              <a:gd name="connsiteX22" fmla="*/ 17704 w 1452882"/>
              <a:gd name="connsiteY22" fmla="*/ 126854 h 3088800"/>
              <a:gd name="connsiteX23" fmla="*/ 68784 w 1452882"/>
              <a:gd name="connsiteY23" fmla="*/ 58503 h 3088800"/>
              <a:gd name="connsiteX24" fmla="*/ 202870 w 1452882"/>
              <a:gd name="connsiteY24" fmla="*/ 0 h 30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52882" h="3088800">
                <a:moveTo>
                  <a:pt x="202870" y="0"/>
                </a:moveTo>
                <a:cubicBezTo>
                  <a:pt x="307352" y="0"/>
                  <a:pt x="307352" y="0"/>
                  <a:pt x="307352" y="0"/>
                </a:cubicBezTo>
                <a:cubicBezTo>
                  <a:pt x="307352" y="0"/>
                  <a:pt x="317220" y="2896"/>
                  <a:pt x="321573" y="16508"/>
                </a:cubicBezTo>
                <a:cubicBezTo>
                  <a:pt x="325926" y="30121"/>
                  <a:pt x="339567" y="82542"/>
                  <a:pt x="363366" y="98181"/>
                </a:cubicBezTo>
                <a:cubicBezTo>
                  <a:pt x="382231" y="110345"/>
                  <a:pt x="416768" y="106580"/>
                  <a:pt x="416768" y="106580"/>
                </a:cubicBezTo>
                <a:cubicBezTo>
                  <a:pt x="1056431" y="106580"/>
                  <a:pt x="1056431" y="106580"/>
                  <a:pt x="1056431" y="106580"/>
                </a:cubicBezTo>
                <a:cubicBezTo>
                  <a:pt x="1056431" y="106580"/>
                  <a:pt x="1080229" y="107739"/>
                  <a:pt x="1095902" y="87755"/>
                </a:cubicBezTo>
                <a:cubicBezTo>
                  <a:pt x="1111574" y="68061"/>
                  <a:pt x="1130439" y="9847"/>
                  <a:pt x="1130439" y="9847"/>
                </a:cubicBezTo>
                <a:cubicBezTo>
                  <a:pt x="1130439" y="9847"/>
                  <a:pt x="1133051" y="579"/>
                  <a:pt x="1147562" y="579"/>
                </a:cubicBezTo>
                <a:cubicBezTo>
                  <a:pt x="1162364" y="579"/>
                  <a:pt x="1255237" y="579"/>
                  <a:pt x="1262202" y="579"/>
                </a:cubicBezTo>
                <a:cubicBezTo>
                  <a:pt x="1265395" y="579"/>
                  <a:pt x="1344337" y="15060"/>
                  <a:pt x="1389032" y="62558"/>
                </a:cubicBezTo>
                <a:cubicBezTo>
                  <a:pt x="1411089" y="86017"/>
                  <a:pt x="1431115" y="114400"/>
                  <a:pt x="1440112" y="140466"/>
                </a:cubicBezTo>
                <a:cubicBezTo>
                  <a:pt x="1451431" y="172324"/>
                  <a:pt x="1452882" y="200128"/>
                  <a:pt x="1452882" y="200128"/>
                </a:cubicBezTo>
                <a:cubicBezTo>
                  <a:pt x="1452882" y="2893886"/>
                  <a:pt x="1452882" y="2893886"/>
                  <a:pt x="1452882" y="2893886"/>
                </a:cubicBezTo>
                <a:cubicBezTo>
                  <a:pt x="1452882" y="2893886"/>
                  <a:pt x="1443305" y="2974690"/>
                  <a:pt x="1400061" y="3015816"/>
                </a:cubicBezTo>
                <a:cubicBezTo>
                  <a:pt x="1373360" y="3041302"/>
                  <a:pt x="1353334" y="3058100"/>
                  <a:pt x="1327794" y="3069396"/>
                </a:cubicBezTo>
                <a:cubicBezTo>
                  <a:pt x="1287742" y="3087352"/>
                  <a:pt x="1250013" y="3088800"/>
                  <a:pt x="1250013" y="3088800"/>
                </a:cubicBezTo>
                <a:cubicBezTo>
                  <a:pt x="195904" y="3088800"/>
                  <a:pt x="195904" y="3088800"/>
                  <a:pt x="195904" y="3088800"/>
                </a:cubicBezTo>
                <a:cubicBezTo>
                  <a:pt x="195904" y="3088800"/>
                  <a:pt x="157013" y="3084456"/>
                  <a:pt x="120445" y="3067368"/>
                </a:cubicBezTo>
                <a:cubicBezTo>
                  <a:pt x="85908" y="3051439"/>
                  <a:pt x="72267" y="3034641"/>
                  <a:pt x="48178" y="3008865"/>
                </a:cubicBezTo>
                <a:cubicBezTo>
                  <a:pt x="581" y="2957602"/>
                  <a:pt x="0" y="2877957"/>
                  <a:pt x="0" y="2877957"/>
                </a:cubicBezTo>
                <a:lnTo>
                  <a:pt x="871" y="204472"/>
                </a:lnTo>
                <a:cubicBezTo>
                  <a:pt x="871" y="204472"/>
                  <a:pt x="1161" y="167111"/>
                  <a:pt x="17704" y="126854"/>
                </a:cubicBezTo>
                <a:cubicBezTo>
                  <a:pt x="27572" y="102815"/>
                  <a:pt x="49049" y="78198"/>
                  <a:pt x="68784" y="58503"/>
                </a:cubicBezTo>
                <a:cubicBezTo>
                  <a:pt x="117252" y="9268"/>
                  <a:pt x="202870" y="0"/>
                  <a:pt x="202870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pic>
        <p:nvPicPr>
          <p:cNvPr id="29" name="Picture 28" descr="A picture containing monitor&#10;&#10;Description automatically generated">
            <a:extLst>
              <a:ext uri="{FF2B5EF4-FFF2-40B4-BE49-F238E27FC236}">
                <a16:creationId xmlns:a16="http://schemas.microsoft.com/office/drawing/2014/main" id="{A70AE4C1-4526-4D22-9301-A6F93E38D7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164" y="1095375"/>
            <a:ext cx="2962122" cy="4536000"/>
          </a:xfrm>
          <a:prstGeom prst="rect">
            <a:avLst/>
          </a:prstGeom>
        </p:spPr>
      </p:pic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2681D62F-4793-4C2E-8783-7DAF67F9AF3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80359" y="1810291"/>
            <a:ext cx="1452882" cy="3088800"/>
          </a:xfrm>
          <a:custGeom>
            <a:avLst/>
            <a:gdLst>
              <a:gd name="connsiteX0" fmla="*/ 202870 w 1452882"/>
              <a:gd name="connsiteY0" fmla="*/ 0 h 3088800"/>
              <a:gd name="connsiteX1" fmla="*/ 307352 w 1452882"/>
              <a:gd name="connsiteY1" fmla="*/ 0 h 3088800"/>
              <a:gd name="connsiteX2" fmla="*/ 321573 w 1452882"/>
              <a:gd name="connsiteY2" fmla="*/ 16508 h 3088800"/>
              <a:gd name="connsiteX3" fmla="*/ 363366 w 1452882"/>
              <a:gd name="connsiteY3" fmla="*/ 98181 h 3088800"/>
              <a:gd name="connsiteX4" fmla="*/ 416768 w 1452882"/>
              <a:gd name="connsiteY4" fmla="*/ 106580 h 3088800"/>
              <a:gd name="connsiteX5" fmla="*/ 1056431 w 1452882"/>
              <a:gd name="connsiteY5" fmla="*/ 106580 h 3088800"/>
              <a:gd name="connsiteX6" fmla="*/ 1095902 w 1452882"/>
              <a:gd name="connsiteY6" fmla="*/ 87755 h 3088800"/>
              <a:gd name="connsiteX7" fmla="*/ 1130439 w 1452882"/>
              <a:gd name="connsiteY7" fmla="*/ 9847 h 3088800"/>
              <a:gd name="connsiteX8" fmla="*/ 1147562 w 1452882"/>
              <a:gd name="connsiteY8" fmla="*/ 579 h 3088800"/>
              <a:gd name="connsiteX9" fmla="*/ 1262202 w 1452882"/>
              <a:gd name="connsiteY9" fmla="*/ 579 h 3088800"/>
              <a:gd name="connsiteX10" fmla="*/ 1389032 w 1452882"/>
              <a:gd name="connsiteY10" fmla="*/ 62558 h 3088800"/>
              <a:gd name="connsiteX11" fmla="*/ 1440112 w 1452882"/>
              <a:gd name="connsiteY11" fmla="*/ 140466 h 3088800"/>
              <a:gd name="connsiteX12" fmla="*/ 1452882 w 1452882"/>
              <a:gd name="connsiteY12" fmla="*/ 200128 h 3088800"/>
              <a:gd name="connsiteX13" fmla="*/ 1452882 w 1452882"/>
              <a:gd name="connsiteY13" fmla="*/ 2893886 h 3088800"/>
              <a:gd name="connsiteX14" fmla="*/ 1400061 w 1452882"/>
              <a:gd name="connsiteY14" fmla="*/ 3015816 h 3088800"/>
              <a:gd name="connsiteX15" fmla="*/ 1327794 w 1452882"/>
              <a:gd name="connsiteY15" fmla="*/ 3069396 h 3088800"/>
              <a:gd name="connsiteX16" fmla="*/ 1250013 w 1452882"/>
              <a:gd name="connsiteY16" fmla="*/ 3088800 h 3088800"/>
              <a:gd name="connsiteX17" fmla="*/ 195904 w 1452882"/>
              <a:gd name="connsiteY17" fmla="*/ 3088800 h 3088800"/>
              <a:gd name="connsiteX18" fmla="*/ 120445 w 1452882"/>
              <a:gd name="connsiteY18" fmla="*/ 3067368 h 3088800"/>
              <a:gd name="connsiteX19" fmla="*/ 48178 w 1452882"/>
              <a:gd name="connsiteY19" fmla="*/ 3008865 h 3088800"/>
              <a:gd name="connsiteX20" fmla="*/ 0 w 1452882"/>
              <a:gd name="connsiteY20" fmla="*/ 2877957 h 3088800"/>
              <a:gd name="connsiteX21" fmla="*/ 871 w 1452882"/>
              <a:gd name="connsiteY21" fmla="*/ 204472 h 3088800"/>
              <a:gd name="connsiteX22" fmla="*/ 17704 w 1452882"/>
              <a:gd name="connsiteY22" fmla="*/ 126854 h 3088800"/>
              <a:gd name="connsiteX23" fmla="*/ 68784 w 1452882"/>
              <a:gd name="connsiteY23" fmla="*/ 58503 h 3088800"/>
              <a:gd name="connsiteX24" fmla="*/ 202870 w 1452882"/>
              <a:gd name="connsiteY24" fmla="*/ 0 h 30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52882" h="3088800">
                <a:moveTo>
                  <a:pt x="202870" y="0"/>
                </a:moveTo>
                <a:cubicBezTo>
                  <a:pt x="307352" y="0"/>
                  <a:pt x="307352" y="0"/>
                  <a:pt x="307352" y="0"/>
                </a:cubicBezTo>
                <a:cubicBezTo>
                  <a:pt x="307352" y="0"/>
                  <a:pt x="317220" y="2896"/>
                  <a:pt x="321573" y="16508"/>
                </a:cubicBezTo>
                <a:cubicBezTo>
                  <a:pt x="325926" y="30121"/>
                  <a:pt x="339567" y="82542"/>
                  <a:pt x="363366" y="98181"/>
                </a:cubicBezTo>
                <a:cubicBezTo>
                  <a:pt x="382231" y="110345"/>
                  <a:pt x="416768" y="106580"/>
                  <a:pt x="416768" y="106580"/>
                </a:cubicBezTo>
                <a:cubicBezTo>
                  <a:pt x="1056431" y="106580"/>
                  <a:pt x="1056431" y="106580"/>
                  <a:pt x="1056431" y="106580"/>
                </a:cubicBezTo>
                <a:cubicBezTo>
                  <a:pt x="1056431" y="106580"/>
                  <a:pt x="1080229" y="107739"/>
                  <a:pt x="1095902" y="87755"/>
                </a:cubicBezTo>
                <a:cubicBezTo>
                  <a:pt x="1111574" y="68061"/>
                  <a:pt x="1130439" y="9847"/>
                  <a:pt x="1130439" y="9847"/>
                </a:cubicBezTo>
                <a:cubicBezTo>
                  <a:pt x="1130439" y="9847"/>
                  <a:pt x="1133051" y="579"/>
                  <a:pt x="1147562" y="579"/>
                </a:cubicBezTo>
                <a:cubicBezTo>
                  <a:pt x="1162364" y="579"/>
                  <a:pt x="1255237" y="579"/>
                  <a:pt x="1262202" y="579"/>
                </a:cubicBezTo>
                <a:cubicBezTo>
                  <a:pt x="1265395" y="579"/>
                  <a:pt x="1344337" y="15060"/>
                  <a:pt x="1389032" y="62558"/>
                </a:cubicBezTo>
                <a:cubicBezTo>
                  <a:pt x="1411089" y="86017"/>
                  <a:pt x="1431115" y="114400"/>
                  <a:pt x="1440112" y="140466"/>
                </a:cubicBezTo>
                <a:cubicBezTo>
                  <a:pt x="1451431" y="172324"/>
                  <a:pt x="1452882" y="200128"/>
                  <a:pt x="1452882" y="200128"/>
                </a:cubicBezTo>
                <a:cubicBezTo>
                  <a:pt x="1452882" y="2893886"/>
                  <a:pt x="1452882" y="2893886"/>
                  <a:pt x="1452882" y="2893886"/>
                </a:cubicBezTo>
                <a:cubicBezTo>
                  <a:pt x="1452882" y="2893886"/>
                  <a:pt x="1443305" y="2974690"/>
                  <a:pt x="1400061" y="3015816"/>
                </a:cubicBezTo>
                <a:cubicBezTo>
                  <a:pt x="1373360" y="3041302"/>
                  <a:pt x="1353334" y="3058100"/>
                  <a:pt x="1327794" y="3069396"/>
                </a:cubicBezTo>
                <a:cubicBezTo>
                  <a:pt x="1287742" y="3087352"/>
                  <a:pt x="1250013" y="3088800"/>
                  <a:pt x="1250013" y="3088800"/>
                </a:cubicBezTo>
                <a:cubicBezTo>
                  <a:pt x="195904" y="3088800"/>
                  <a:pt x="195904" y="3088800"/>
                  <a:pt x="195904" y="3088800"/>
                </a:cubicBezTo>
                <a:cubicBezTo>
                  <a:pt x="195904" y="3088800"/>
                  <a:pt x="157013" y="3084456"/>
                  <a:pt x="120445" y="3067368"/>
                </a:cubicBezTo>
                <a:cubicBezTo>
                  <a:pt x="85908" y="3051439"/>
                  <a:pt x="72267" y="3034641"/>
                  <a:pt x="48178" y="3008865"/>
                </a:cubicBezTo>
                <a:cubicBezTo>
                  <a:pt x="581" y="2957602"/>
                  <a:pt x="0" y="2877957"/>
                  <a:pt x="0" y="2877957"/>
                </a:cubicBezTo>
                <a:lnTo>
                  <a:pt x="871" y="204472"/>
                </a:lnTo>
                <a:cubicBezTo>
                  <a:pt x="871" y="204472"/>
                  <a:pt x="1161" y="167111"/>
                  <a:pt x="17704" y="126854"/>
                </a:cubicBezTo>
                <a:cubicBezTo>
                  <a:pt x="27572" y="102815"/>
                  <a:pt x="49049" y="78198"/>
                  <a:pt x="68784" y="58503"/>
                </a:cubicBezTo>
                <a:cubicBezTo>
                  <a:pt x="117252" y="9268"/>
                  <a:pt x="202870" y="0"/>
                  <a:pt x="202870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708807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 with iPh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00064" y="5288239"/>
            <a:ext cx="3600000" cy="783091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3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314826" y="5288239"/>
            <a:ext cx="3600000" cy="783091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1ECDB9F2-27F4-42DB-89BF-A79294975B4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29588" y="5288239"/>
            <a:ext cx="3600000" cy="783091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5179A366-3852-4680-B35F-C5CAF0ED315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65109" y="1810291"/>
            <a:ext cx="1452882" cy="3088800"/>
          </a:xfrm>
          <a:custGeom>
            <a:avLst/>
            <a:gdLst>
              <a:gd name="connsiteX0" fmla="*/ 202870 w 1452882"/>
              <a:gd name="connsiteY0" fmla="*/ 0 h 3088800"/>
              <a:gd name="connsiteX1" fmla="*/ 307352 w 1452882"/>
              <a:gd name="connsiteY1" fmla="*/ 0 h 3088800"/>
              <a:gd name="connsiteX2" fmla="*/ 321573 w 1452882"/>
              <a:gd name="connsiteY2" fmla="*/ 16508 h 3088800"/>
              <a:gd name="connsiteX3" fmla="*/ 363366 w 1452882"/>
              <a:gd name="connsiteY3" fmla="*/ 98181 h 3088800"/>
              <a:gd name="connsiteX4" fmla="*/ 416768 w 1452882"/>
              <a:gd name="connsiteY4" fmla="*/ 106580 h 3088800"/>
              <a:gd name="connsiteX5" fmla="*/ 1056431 w 1452882"/>
              <a:gd name="connsiteY5" fmla="*/ 106580 h 3088800"/>
              <a:gd name="connsiteX6" fmla="*/ 1095902 w 1452882"/>
              <a:gd name="connsiteY6" fmla="*/ 87755 h 3088800"/>
              <a:gd name="connsiteX7" fmla="*/ 1130439 w 1452882"/>
              <a:gd name="connsiteY7" fmla="*/ 9847 h 3088800"/>
              <a:gd name="connsiteX8" fmla="*/ 1147562 w 1452882"/>
              <a:gd name="connsiteY8" fmla="*/ 579 h 3088800"/>
              <a:gd name="connsiteX9" fmla="*/ 1262202 w 1452882"/>
              <a:gd name="connsiteY9" fmla="*/ 579 h 3088800"/>
              <a:gd name="connsiteX10" fmla="*/ 1389032 w 1452882"/>
              <a:gd name="connsiteY10" fmla="*/ 62558 h 3088800"/>
              <a:gd name="connsiteX11" fmla="*/ 1440112 w 1452882"/>
              <a:gd name="connsiteY11" fmla="*/ 140466 h 3088800"/>
              <a:gd name="connsiteX12" fmla="*/ 1452882 w 1452882"/>
              <a:gd name="connsiteY12" fmla="*/ 200128 h 3088800"/>
              <a:gd name="connsiteX13" fmla="*/ 1452882 w 1452882"/>
              <a:gd name="connsiteY13" fmla="*/ 2893886 h 3088800"/>
              <a:gd name="connsiteX14" fmla="*/ 1400061 w 1452882"/>
              <a:gd name="connsiteY14" fmla="*/ 3015816 h 3088800"/>
              <a:gd name="connsiteX15" fmla="*/ 1327794 w 1452882"/>
              <a:gd name="connsiteY15" fmla="*/ 3069396 h 3088800"/>
              <a:gd name="connsiteX16" fmla="*/ 1250013 w 1452882"/>
              <a:gd name="connsiteY16" fmla="*/ 3088800 h 3088800"/>
              <a:gd name="connsiteX17" fmla="*/ 195904 w 1452882"/>
              <a:gd name="connsiteY17" fmla="*/ 3088800 h 3088800"/>
              <a:gd name="connsiteX18" fmla="*/ 120445 w 1452882"/>
              <a:gd name="connsiteY18" fmla="*/ 3067368 h 3088800"/>
              <a:gd name="connsiteX19" fmla="*/ 48178 w 1452882"/>
              <a:gd name="connsiteY19" fmla="*/ 3008865 h 3088800"/>
              <a:gd name="connsiteX20" fmla="*/ 0 w 1452882"/>
              <a:gd name="connsiteY20" fmla="*/ 2877957 h 3088800"/>
              <a:gd name="connsiteX21" fmla="*/ 871 w 1452882"/>
              <a:gd name="connsiteY21" fmla="*/ 204472 h 3088800"/>
              <a:gd name="connsiteX22" fmla="*/ 17704 w 1452882"/>
              <a:gd name="connsiteY22" fmla="*/ 126854 h 3088800"/>
              <a:gd name="connsiteX23" fmla="*/ 68784 w 1452882"/>
              <a:gd name="connsiteY23" fmla="*/ 58503 h 3088800"/>
              <a:gd name="connsiteX24" fmla="*/ 202870 w 1452882"/>
              <a:gd name="connsiteY24" fmla="*/ 0 h 30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52882" h="3088800">
                <a:moveTo>
                  <a:pt x="202870" y="0"/>
                </a:moveTo>
                <a:cubicBezTo>
                  <a:pt x="307352" y="0"/>
                  <a:pt x="307352" y="0"/>
                  <a:pt x="307352" y="0"/>
                </a:cubicBezTo>
                <a:cubicBezTo>
                  <a:pt x="307352" y="0"/>
                  <a:pt x="317220" y="2896"/>
                  <a:pt x="321573" y="16508"/>
                </a:cubicBezTo>
                <a:cubicBezTo>
                  <a:pt x="325926" y="30121"/>
                  <a:pt x="339567" y="82542"/>
                  <a:pt x="363366" y="98181"/>
                </a:cubicBezTo>
                <a:cubicBezTo>
                  <a:pt x="382231" y="110345"/>
                  <a:pt x="416768" y="106580"/>
                  <a:pt x="416768" y="106580"/>
                </a:cubicBezTo>
                <a:cubicBezTo>
                  <a:pt x="1056431" y="106580"/>
                  <a:pt x="1056431" y="106580"/>
                  <a:pt x="1056431" y="106580"/>
                </a:cubicBezTo>
                <a:cubicBezTo>
                  <a:pt x="1056431" y="106580"/>
                  <a:pt x="1080229" y="107739"/>
                  <a:pt x="1095902" y="87755"/>
                </a:cubicBezTo>
                <a:cubicBezTo>
                  <a:pt x="1111574" y="68061"/>
                  <a:pt x="1130439" y="9847"/>
                  <a:pt x="1130439" y="9847"/>
                </a:cubicBezTo>
                <a:cubicBezTo>
                  <a:pt x="1130439" y="9847"/>
                  <a:pt x="1133051" y="579"/>
                  <a:pt x="1147562" y="579"/>
                </a:cubicBezTo>
                <a:cubicBezTo>
                  <a:pt x="1162364" y="579"/>
                  <a:pt x="1255237" y="579"/>
                  <a:pt x="1262202" y="579"/>
                </a:cubicBezTo>
                <a:cubicBezTo>
                  <a:pt x="1265395" y="579"/>
                  <a:pt x="1344337" y="15060"/>
                  <a:pt x="1389032" y="62558"/>
                </a:cubicBezTo>
                <a:cubicBezTo>
                  <a:pt x="1411089" y="86017"/>
                  <a:pt x="1431115" y="114400"/>
                  <a:pt x="1440112" y="140466"/>
                </a:cubicBezTo>
                <a:cubicBezTo>
                  <a:pt x="1451431" y="172324"/>
                  <a:pt x="1452882" y="200128"/>
                  <a:pt x="1452882" y="200128"/>
                </a:cubicBezTo>
                <a:cubicBezTo>
                  <a:pt x="1452882" y="2893886"/>
                  <a:pt x="1452882" y="2893886"/>
                  <a:pt x="1452882" y="2893886"/>
                </a:cubicBezTo>
                <a:cubicBezTo>
                  <a:pt x="1452882" y="2893886"/>
                  <a:pt x="1443305" y="2974690"/>
                  <a:pt x="1400061" y="3015816"/>
                </a:cubicBezTo>
                <a:cubicBezTo>
                  <a:pt x="1373360" y="3041302"/>
                  <a:pt x="1353334" y="3058100"/>
                  <a:pt x="1327794" y="3069396"/>
                </a:cubicBezTo>
                <a:cubicBezTo>
                  <a:pt x="1287742" y="3087352"/>
                  <a:pt x="1250013" y="3088800"/>
                  <a:pt x="1250013" y="3088800"/>
                </a:cubicBezTo>
                <a:cubicBezTo>
                  <a:pt x="195904" y="3088800"/>
                  <a:pt x="195904" y="3088800"/>
                  <a:pt x="195904" y="3088800"/>
                </a:cubicBezTo>
                <a:cubicBezTo>
                  <a:pt x="195904" y="3088800"/>
                  <a:pt x="157013" y="3084456"/>
                  <a:pt x="120445" y="3067368"/>
                </a:cubicBezTo>
                <a:cubicBezTo>
                  <a:pt x="85908" y="3051439"/>
                  <a:pt x="72267" y="3034641"/>
                  <a:pt x="48178" y="3008865"/>
                </a:cubicBezTo>
                <a:cubicBezTo>
                  <a:pt x="581" y="2957602"/>
                  <a:pt x="0" y="2877957"/>
                  <a:pt x="0" y="2877957"/>
                </a:cubicBezTo>
                <a:lnTo>
                  <a:pt x="871" y="204472"/>
                </a:lnTo>
                <a:cubicBezTo>
                  <a:pt x="871" y="204472"/>
                  <a:pt x="1161" y="167111"/>
                  <a:pt x="17704" y="126854"/>
                </a:cubicBezTo>
                <a:cubicBezTo>
                  <a:pt x="27572" y="102815"/>
                  <a:pt x="49049" y="78198"/>
                  <a:pt x="68784" y="58503"/>
                </a:cubicBezTo>
                <a:cubicBezTo>
                  <a:pt x="117252" y="9268"/>
                  <a:pt x="202870" y="0"/>
                  <a:pt x="202870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22F74907-9901-41D8-B02E-D5156ACAC59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CD76F14-B7C1-4783-A9BB-4763BFA8875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2EEBB07D-0B9A-4E6E-8341-D43B950E589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317019" y="1810291"/>
            <a:ext cx="1452882" cy="3088800"/>
          </a:xfrm>
          <a:custGeom>
            <a:avLst/>
            <a:gdLst>
              <a:gd name="connsiteX0" fmla="*/ 202870 w 1452882"/>
              <a:gd name="connsiteY0" fmla="*/ 0 h 3088800"/>
              <a:gd name="connsiteX1" fmla="*/ 307352 w 1452882"/>
              <a:gd name="connsiteY1" fmla="*/ 0 h 3088800"/>
              <a:gd name="connsiteX2" fmla="*/ 321573 w 1452882"/>
              <a:gd name="connsiteY2" fmla="*/ 16508 h 3088800"/>
              <a:gd name="connsiteX3" fmla="*/ 363366 w 1452882"/>
              <a:gd name="connsiteY3" fmla="*/ 98181 h 3088800"/>
              <a:gd name="connsiteX4" fmla="*/ 416768 w 1452882"/>
              <a:gd name="connsiteY4" fmla="*/ 106580 h 3088800"/>
              <a:gd name="connsiteX5" fmla="*/ 1056431 w 1452882"/>
              <a:gd name="connsiteY5" fmla="*/ 106580 h 3088800"/>
              <a:gd name="connsiteX6" fmla="*/ 1095902 w 1452882"/>
              <a:gd name="connsiteY6" fmla="*/ 87755 h 3088800"/>
              <a:gd name="connsiteX7" fmla="*/ 1130439 w 1452882"/>
              <a:gd name="connsiteY7" fmla="*/ 9847 h 3088800"/>
              <a:gd name="connsiteX8" fmla="*/ 1147562 w 1452882"/>
              <a:gd name="connsiteY8" fmla="*/ 579 h 3088800"/>
              <a:gd name="connsiteX9" fmla="*/ 1262202 w 1452882"/>
              <a:gd name="connsiteY9" fmla="*/ 579 h 3088800"/>
              <a:gd name="connsiteX10" fmla="*/ 1389032 w 1452882"/>
              <a:gd name="connsiteY10" fmla="*/ 62558 h 3088800"/>
              <a:gd name="connsiteX11" fmla="*/ 1440112 w 1452882"/>
              <a:gd name="connsiteY11" fmla="*/ 140466 h 3088800"/>
              <a:gd name="connsiteX12" fmla="*/ 1452882 w 1452882"/>
              <a:gd name="connsiteY12" fmla="*/ 200128 h 3088800"/>
              <a:gd name="connsiteX13" fmla="*/ 1452882 w 1452882"/>
              <a:gd name="connsiteY13" fmla="*/ 2893886 h 3088800"/>
              <a:gd name="connsiteX14" fmla="*/ 1400061 w 1452882"/>
              <a:gd name="connsiteY14" fmla="*/ 3015816 h 3088800"/>
              <a:gd name="connsiteX15" fmla="*/ 1327794 w 1452882"/>
              <a:gd name="connsiteY15" fmla="*/ 3069396 h 3088800"/>
              <a:gd name="connsiteX16" fmla="*/ 1250013 w 1452882"/>
              <a:gd name="connsiteY16" fmla="*/ 3088800 h 3088800"/>
              <a:gd name="connsiteX17" fmla="*/ 195904 w 1452882"/>
              <a:gd name="connsiteY17" fmla="*/ 3088800 h 3088800"/>
              <a:gd name="connsiteX18" fmla="*/ 120445 w 1452882"/>
              <a:gd name="connsiteY18" fmla="*/ 3067368 h 3088800"/>
              <a:gd name="connsiteX19" fmla="*/ 48178 w 1452882"/>
              <a:gd name="connsiteY19" fmla="*/ 3008865 h 3088800"/>
              <a:gd name="connsiteX20" fmla="*/ 0 w 1452882"/>
              <a:gd name="connsiteY20" fmla="*/ 2877957 h 3088800"/>
              <a:gd name="connsiteX21" fmla="*/ 871 w 1452882"/>
              <a:gd name="connsiteY21" fmla="*/ 204472 h 3088800"/>
              <a:gd name="connsiteX22" fmla="*/ 17704 w 1452882"/>
              <a:gd name="connsiteY22" fmla="*/ 126854 h 3088800"/>
              <a:gd name="connsiteX23" fmla="*/ 68784 w 1452882"/>
              <a:gd name="connsiteY23" fmla="*/ 58503 h 3088800"/>
              <a:gd name="connsiteX24" fmla="*/ 202870 w 1452882"/>
              <a:gd name="connsiteY24" fmla="*/ 0 h 30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52882" h="3088800">
                <a:moveTo>
                  <a:pt x="202870" y="0"/>
                </a:moveTo>
                <a:cubicBezTo>
                  <a:pt x="307352" y="0"/>
                  <a:pt x="307352" y="0"/>
                  <a:pt x="307352" y="0"/>
                </a:cubicBezTo>
                <a:cubicBezTo>
                  <a:pt x="307352" y="0"/>
                  <a:pt x="317220" y="2896"/>
                  <a:pt x="321573" y="16508"/>
                </a:cubicBezTo>
                <a:cubicBezTo>
                  <a:pt x="325926" y="30121"/>
                  <a:pt x="339567" y="82542"/>
                  <a:pt x="363366" y="98181"/>
                </a:cubicBezTo>
                <a:cubicBezTo>
                  <a:pt x="382231" y="110345"/>
                  <a:pt x="416768" y="106580"/>
                  <a:pt x="416768" y="106580"/>
                </a:cubicBezTo>
                <a:cubicBezTo>
                  <a:pt x="1056431" y="106580"/>
                  <a:pt x="1056431" y="106580"/>
                  <a:pt x="1056431" y="106580"/>
                </a:cubicBezTo>
                <a:cubicBezTo>
                  <a:pt x="1056431" y="106580"/>
                  <a:pt x="1080229" y="107739"/>
                  <a:pt x="1095902" y="87755"/>
                </a:cubicBezTo>
                <a:cubicBezTo>
                  <a:pt x="1111574" y="68061"/>
                  <a:pt x="1130439" y="9847"/>
                  <a:pt x="1130439" y="9847"/>
                </a:cubicBezTo>
                <a:cubicBezTo>
                  <a:pt x="1130439" y="9847"/>
                  <a:pt x="1133051" y="579"/>
                  <a:pt x="1147562" y="579"/>
                </a:cubicBezTo>
                <a:cubicBezTo>
                  <a:pt x="1162364" y="579"/>
                  <a:pt x="1255237" y="579"/>
                  <a:pt x="1262202" y="579"/>
                </a:cubicBezTo>
                <a:cubicBezTo>
                  <a:pt x="1265395" y="579"/>
                  <a:pt x="1344337" y="15060"/>
                  <a:pt x="1389032" y="62558"/>
                </a:cubicBezTo>
                <a:cubicBezTo>
                  <a:pt x="1411089" y="86017"/>
                  <a:pt x="1431115" y="114400"/>
                  <a:pt x="1440112" y="140466"/>
                </a:cubicBezTo>
                <a:cubicBezTo>
                  <a:pt x="1451431" y="172324"/>
                  <a:pt x="1452882" y="200128"/>
                  <a:pt x="1452882" y="200128"/>
                </a:cubicBezTo>
                <a:cubicBezTo>
                  <a:pt x="1452882" y="2893886"/>
                  <a:pt x="1452882" y="2893886"/>
                  <a:pt x="1452882" y="2893886"/>
                </a:cubicBezTo>
                <a:cubicBezTo>
                  <a:pt x="1452882" y="2893886"/>
                  <a:pt x="1443305" y="2974690"/>
                  <a:pt x="1400061" y="3015816"/>
                </a:cubicBezTo>
                <a:cubicBezTo>
                  <a:pt x="1373360" y="3041302"/>
                  <a:pt x="1353334" y="3058100"/>
                  <a:pt x="1327794" y="3069396"/>
                </a:cubicBezTo>
                <a:cubicBezTo>
                  <a:pt x="1287742" y="3087352"/>
                  <a:pt x="1250013" y="3088800"/>
                  <a:pt x="1250013" y="3088800"/>
                </a:cubicBezTo>
                <a:cubicBezTo>
                  <a:pt x="195904" y="3088800"/>
                  <a:pt x="195904" y="3088800"/>
                  <a:pt x="195904" y="3088800"/>
                </a:cubicBezTo>
                <a:cubicBezTo>
                  <a:pt x="195904" y="3088800"/>
                  <a:pt x="157013" y="3084456"/>
                  <a:pt x="120445" y="3067368"/>
                </a:cubicBezTo>
                <a:cubicBezTo>
                  <a:pt x="85908" y="3051439"/>
                  <a:pt x="72267" y="3034641"/>
                  <a:pt x="48178" y="3008865"/>
                </a:cubicBezTo>
                <a:cubicBezTo>
                  <a:pt x="581" y="2957602"/>
                  <a:pt x="0" y="2877957"/>
                  <a:pt x="0" y="2877957"/>
                </a:cubicBezTo>
                <a:lnTo>
                  <a:pt x="871" y="204472"/>
                </a:lnTo>
                <a:cubicBezTo>
                  <a:pt x="871" y="204472"/>
                  <a:pt x="1161" y="167111"/>
                  <a:pt x="17704" y="126854"/>
                </a:cubicBezTo>
                <a:cubicBezTo>
                  <a:pt x="27572" y="102815"/>
                  <a:pt x="49049" y="78198"/>
                  <a:pt x="68784" y="58503"/>
                </a:cubicBezTo>
                <a:cubicBezTo>
                  <a:pt x="117252" y="9268"/>
                  <a:pt x="202870" y="0"/>
                  <a:pt x="202870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2681D62F-4793-4C2E-8783-7DAF67F9AF3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80359" y="1810291"/>
            <a:ext cx="1452882" cy="3088800"/>
          </a:xfrm>
          <a:custGeom>
            <a:avLst/>
            <a:gdLst>
              <a:gd name="connsiteX0" fmla="*/ 202870 w 1452882"/>
              <a:gd name="connsiteY0" fmla="*/ 0 h 3088800"/>
              <a:gd name="connsiteX1" fmla="*/ 307352 w 1452882"/>
              <a:gd name="connsiteY1" fmla="*/ 0 h 3088800"/>
              <a:gd name="connsiteX2" fmla="*/ 321573 w 1452882"/>
              <a:gd name="connsiteY2" fmla="*/ 16508 h 3088800"/>
              <a:gd name="connsiteX3" fmla="*/ 363366 w 1452882"/>
              <a:gd name="connsiteY3" fmla="*/ 98181 h 3088800"/>
              <a:gd name="connsiteX4" fmla="*/ 416768 w 1452882"/>
              <a:gd name="connsiteY4" fmla="*/ 106580 h 3088800"/>
              <a:gd name="connsiteX5" fmla="*/ 1056431 w 1452882"/>
              <a:gd name="connsiteY5" fmla="*/ 106580 h 3088800"/>
              <a:gd name="connsiteX6" fmla="*/ 1095902 w 1452882"/>
              <a:gd name="connsiteY6" fmla="*/ 87755 h 3088800"/>
              <a:gd name="connsiteX7" fmla="*/ 1130439 w 1452882"/>
              <a:gd name="connsiteY7" fmla="*/ 9847 h 3088800"/>
              <a:gd name="connsiteX8" fmla="*/ 1147562 w 1452882"/>
              <a:gd name="connsiteY8" fmla="*/ 579 h 3088800"/>
              <a:gd name="connsiteX9" fmla="*/ 1262202 w 1452882"/>
              <a:gd name="connsiteY9" fmla="*/ 579 h 3088800"/>
              <a:gd name="connsiteX10" fmla="*/ 1389032 w 1452882"/>
              <a:gd name="connsiteY10" fmla="*/ 62558 h 3088800"/>
              <a:gd name="connsiteX11" fmla="*/ 1440112 w 1452882"/>
              <a:gd name="connsiteY11" fmla="*/ 140466 h 3088800"/>
              <a:gd name="connsiteX12" fmla="*/ 1452882 w 1452882"/>
              <a:gd name="connsiteY12" fmla="*/ 200128 h 3088800"/>
              <a:gd name="connsiteX13" fmla="*/ 1452882 w 1452882"/>
              <a:gd name="connsiteY13" fmla="*/ 2893886 h 3088800"/>
              <a:gd name="connsiteX14" fmla="*/ 1400061 w 1452882"/>
              <a:gd name="connsiteY14" fmla="*/ 3015816 h 3088800"/>
              <a:gd name="connsiteX15" fmla="*/ 1327794 w 1452882"/>
              <a:gd name="connsiteY15" fmla="*/ 3069396 h 3088800"/>
              <a:gd name="connsiteX16" fmla="*/ 1250013 w 1452882"/>
              <a:gd name="connsiteY16" fmla="*/ 3088800 h 3088800"/>
              <a:gd name="connsiteX17" fmla="*/ 195904 w 1452882"/>
              <a:gd name="connsiteY17" fmla="*/ 3088800 h 3088800"/>
              <a:gd name="connsiteX18" fmla="*/ 120445 w 1452882"/>
              <a:gd name="connsiteY18" fmla="*/ 3067368 h 3088800"/>
              <a:gd name="connsiteX19" fmla="*/ 48178 w 1452882"/>
              <a:gd name="connsiteY19" fmla="*/ 3008865 h 3088800"/>
              <a:gd name="connsiteX20" fmla="*/ 0 w 1452882"/>
              <a:gd name="connsiteY20" fmla="*/ 2877957 h 3088800"/>
              <a:gd name="connsiteX21" fmla="*/ 871 w 1452882"/>
              <a:gd name="connsiteY21" fmla="*/ 204472 h 3088800"/>
              <a:gd name="connsiteX22" fmla="*/ 17704 w 1452882"/>
              <a:gd name="connsiteY22" fmla="*/ 126854 h 3088800"/>
              <a:gd name="connsiteX23" fmla="*/ 68784 w 1452882"/>
              <a:gd name="connsiteY23" fmla="*/ 58503 h 3088800"/>
              <a:gd name="connsiteX24" fmla="*/ 202870 w 1452882"/>
              <a:gd name="connsiteY24" fmla="*/ 0 h 30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52882" h="3088800">
                <a:moveTo>
                  <a:pt x="202870" y="0"/>
                </a:moveTo>
                <a:cubicBezTo>
                  <a:pt x="307352" y="0"/>
                  <a:pt x="307352" y="0"/>
                  <a:pt x="307352" y="0"/>
                </a:cubicBezTo>
                <a:cubicBezTo>
                  <a:pt x="307352" y="0"/>
                  <a:pt x="317220" y="2896"/>
                  <a:pt x="321573" y="16508"/>
                </a:cubicBezTo>
                <a:cubicBezTo>
                  <a:pt x="325926" y="30121"/>
                  <a:pt x="339567" y="82542"/>
                  <a:pt x="363366" y="98181"/>
                </a:cubicBezTo>
                <a:cubicBezTo>
                  <a:pt x="382231" y="110345"/>
                  <a:pt x="416768" y="106580"/>
                  <a:pt x="416768" y="106580"/>
                </a:cubicBezTo>
                <a:cubicBezTo>
                  <a:pt x="1056431" y="106580"/>
                  <a:pt x="1056431" y="106580"/>
                  <a:pt x="1056431" y="106580"/>
                </a:cubicBezTo>
                <a:cubicBezTo>
                  <a:pt x="1056431" y="106580"/>
                  <a:pt x="1080229" y="107739"/>
                  <a:pt x="1095902" y="87755"/>
                </a:cubicBezTo>
                <a:cubicBezTo>
                  <a:pt x="1111574" y="68061"/>
                  <a:pt x="1130439" y="9847"/>
                  <a:pt x="1130439" y="9847"/>
                </a:cubicBezTo>
                <a:cubicBezTo>
                  <a:pt x="1130439" y="9847"/>
                  <a:pt x="1133051" y="579"/>
                  <a:pt x="1147562" y="579"/>
                </a:cubicBezTo>
                <a:cubicBezTo>
                  <a:pt x="1162364" y="579"/>
                  <a:pt x="1255237" y="579"/>
                  <a:pt x="1262202" y="579"/>
                </a:cubicBezTo>
                <a:cubicBezTo>
                  <a:pt x="1265395" y="579"/>
                  <a:pt x="1344337" y="15060"/>
                  <a:pt x="1389032" y="62558"/>
                </a:cubicBezTo>
                <a:cubicBezTo>
                  <a:pt x="1411089" y="86017"/>
                  <a:pt x="1431115" y="114400"/>
                  <a:pt x="1440112" y="140466"/>
                </a:cubicBezTo>
                <a:cubicBezTo>
                  <a:pt x="1451431" y="172324"/>
                  <a:pt x="1452882" y="200128"/>
                  <a:pt x="1452882" y="200128"/>
                </a:cubicBezTo>
                <a:cubicBezTo>
                  <a:pt x="1452882" y="2893886"/>
                  <a:pt x="1452882" y="2893886"/>
                  <a:pt x="1452882" y="2893886"/>
                </a:cubicBezTo>
                <a:cubicBezTo>
                  <a:pt x="1452882" y="2893886"/>
                  <a:pt x="1443305" y="2974690"/>
                  <a:pt x="1400061" y="3015816"/>
                </a:cubicBezTo>
                <a:cubicBezTo>
                  <a:pt x="1373360" y="3041302"/>
                  <a:pt x="1353334" y="3058100"/>
                  <a:pt x="1327794" y="3069396"/>
                </a:cubicBezTo>
                <a:cubicBezTo>
                  <a:pt x="1287742" y="3087352"/>
                  <a:pt x="1250013" y="3088800"/>
                  <a:pt x="1250013" y="3088800"/>
                </a:cubicBezTo>
                <a:cubicBezTo>
                  <a:pt x="195904" y="3088800"/>
                  <a:pt x="195904" y="3088800"/>
                  <a:pt x="195904" y="3088800"/>
                </a:cubicBezTo>
                <a:cubicBezTo>
                  <a:pt x="195904" y="3088800"/>
                  <a:pt x="157013" y="3084456"/>
                  <a:pt x="120445" y="3067368"/>
                </a:cubicBezTo>
                <a:cubicBezTo>
                  <a:pt x="85908" y="3051439"/>
                  <a:pt x="72267" y="3034641"/>
                  <a:pt x="48178" y="3008865"/>
                </a:cubicBezTo>
                <a:cubicBezTo>
                  <a:pt x="581" y="2957602"/>
                  <a:pt x="0" y="2877957"/>
                  <a:pt x="0" y="2877957"/>
                </a:cubicBezTo>
                <a:lnTo>
                  <a:pt x="871" y="204472"/>
                </a:lnTo>
                <a:cubicBezTo>
                  <a:pt x="871" y="204472"/>
                  <a:pt x="1161" y="167111"/>
                  <a:pt x="17704" y="126854"/>
                </a:cubicBezTo>
                <a:cubicBezTo>
                  <a:pt x="27572" y="102815"/>
                  <a:pt x="49049" y="78198"/>
                  <a:pt x="68784" y="58503"/>
                </a:cubicBezTo>
                <a:cubicBezTo>
                  <a:pt x="117252" y="9268"/>
                  <a:pt x="202870" y="0"/>
                  <a:pt x="202870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208633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ntent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0000"/>
            <a:ext cx="35893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1157396-66F3-4131-832E-DED0E7ABE71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01332" y="2520000"/>
            <a:ext cx="35893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0226DC9-EE88-4C38-BFC7-8CF1082EDBD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02601" y="2520000"/>
            <a:ext cx="35893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2DF5BAB-DC7D-4C2E-822E-C0828F8BD7F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C5A2B2A-4207-4088-8306-70D21909D81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5641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, Content and iPho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0A5685-ADC9-4197-AAEB-665323328B34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3689"/>
            <a:ext cx="5056675" cy="3329423"/>
          </a:xfrm>
        </p:spPr>
        <p:txBody>
          <a:bodyPr spcCol="54000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231F20"/>
                </a:solidFill>
              </a:rPr>
              <a:t>Asurion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>
                <a:solidFill>
                  <a:srgbClr val="231F20"/>
                </a:solidFill>
              </a:rPr>
              <a:pPr/>
              <a:t>‹#›</a:t>
            </a:fld>
            <a:endParaRPr>
              <a:solidFill>
                <a:srgbClr val="231F20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639103-1054-48CB-9C4A-BC221A9D489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0063" y="1481655"/>
            <a:ext cx="5056675" cy="786765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 descr="A picture containing monitor&#10;&#10;Description automatically generated">
            <a:extLst>
              <a:ext uri="{FF2B5EF4-FFF2-40B4-BE49-F238E27FC236}">
                <a16:creationId xmlns:a16="http://schemas.microsoft.com/office/drawing/2014/main" id="{56C82B6E-CB3C-472B-826E-0AF65C1329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8825" y="-410658"/>
            <a:ext cx="5009044" cy="7670523"/>
          </a:xfrm>
          <a:prstGeom prst="rect">
            <a:avLst/>
          </a:prstGeom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5BB1AFEC-6A42-4E41-9AB3-8AA1E87ADC0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907261" y="791536"/>
            <a:ext cx="2456870" cy="5227200"/>
          </a:xfrm>
          <a:custGeom>
            <a:avLst/>
            <a:gdLst>
              <a:gd name="connsiteX0" fmla="*/ 202870 w 1452882"/>
              <a:gd name="connsiteY0" fmla="*/ 0 h 3088800"/>
              <a:gd name="connsiteX1" fmla="*/ 307352 w 1452882"/>
              <a:gd name="connsiteY1" fmla="*/ 0 h 3088800"/>
              <a:gd name="connsiteX2" fmla="*/ 321573 w 1452882"/>
              <a:gd name="connsiteY2" fmla="*/ 16508 h 3088800"/>
              <a:gd name="connsiteX3" fmla="*/ 363366 w 1452882"/>
              <a:gd name="connsiteY3" fmla="*/ 98181 h 3088800"/>
              <a:gd name="connsiteX4" fmla="*/ 416768 w 1452882"/>
              <a:gd name="connsiteY4" fmla="*/ 106580 h 3088800"/>
              <a:gd name="connsiteX5" fmla="*/ 1056431 w 1452882"/>
              <a:gd name="connsiteY5" fmla="*/ 106580 h 3088800"/>
              <a:gd name="connsiteX6" fmla="*/ 1095902 w 1452882"/>
              <a:gd name="connsiteY6" fmla="*/ 87755 h 3088800"/>
              <a:gd name="connsiteX7" fmla="*/ 1130439 w 1452882"/>
              <a:gd name="connsiteY7" fmla="*/ 9847 h 3088800"/>
              <a:gd name="connsiteX8" fmla="*/ 1147562 w 1452882"/>
              <a:gd name="connsiteY8" fmla="*/ 579 h 3088800"/>
              <a:gd name="connsiteX9" fmla="*/ 1262202 w 1452882"/>
              <a:gd name="connsiteY9" fmla="*/ 579 h 3088800"/>
              <a:gd name="connsiteX10" fmla="*/ 1389032 w 1452882"/>
              <a:gd name="connsiteY10" fmla="*/ 62558 h 3088800"/>
              <a:gd name="connsiteX11" fmla="*/ 1440112 w 1452882"/>
              <a:gd name="connsiteY11" fmla="*/ 140466 h 3088800"/>
              <a:gd name="connsiteX12" fmla="*/ 1452882 w 1452882"/>
              <a:gd name="connsiteY12" fmla="*/ 200128 h 3088800"/>
              <a:gd name="connsiteX13" fmla="*/ 1452882 w 1452882"/>
              <a:gd name="connsiteY13" fmla="*/ 2893886 h 3088800"/>
              <a:gd name="connsiteX14" fmla="*/ 1400061 w 1452882"/>
              <a:gd name="connsiteY14" fmla="*/ 3015816 h 3088800"/>
              <a:gd name="connsiteX15" fmla="*/ 1327794 w 1452882"/>
              <a:gd name="connsiteY15" fmla="*/ 3069396 h 3088800"/>
              <a:gd name="connsiteX16" fmla="*/ 1250013 w 1452882"/>
              <a:gd name="connsiteY16" fmla="*/ 3088800 h 3088800"/>
              <a:gd name="connsiteX17" fmla="*/ 195904 w 1452882"/>
              <a:gd name="connsiteY17" fmla="*/ 3088800 h 3088800"/>
              <a:gd name="connsiteX18" fmla="*/ 120445 w 1452882"/>
              <a:gd name="connsiteY18" fmla="*/ 3067368 h 3088800"/>
              <a:gd name="connsiteX19" fmla="*/ 48178 w 1452882"/>
              <a:gd name="connsiteY19" fmla="*/ 3008865 h 3088800"/>
              <a:gd name="connsiteX20" fmla="*/ 0 w 1452882"/>
              <a:gd name="connsiteY20" fmla="*/ 2877957 h 3088800"/>
              <a:gd name="connsiteX21" fmla="*/ 871 w 1452882"/>
              <a:gd name="connsiteY21" fmla="*/ 204472 h 3088800"/>
              <a:gd name="connsiteX22" fmla="*/ 17704 w 1452882"/>
              <a:gd name="connsiteY22" fmla="*/ 126854 h 3088800"/>
              <a:gd name="connsiteX23" fmla="*/ 68784 w 1452882"/>
              <a:gd name="connsiteY23" fmla="*/ 58503 h 3088800"/>
              <a:gd name="connsiteX24" fmla="*/ 202870 w 1452882"/>
              <a:gd name="connsiteY24" fmla="*/ 0 h 30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52882" h="3088800">
                <a:moveTo>
                  <a:pt x="202870" y="0"/>
                </a:moveTo>
                <a:cubicBezTo>
                  <a:pt x="307352" y="0"/>
                  <a:pt x="307352" y="0"/>
                  <a:pt x="307352" y="0"/>
                </a:cubicBezTo>
                <a:cubicBezTo>
                  <a:pt x="307352" y="0"/>
                  <a:pt x="317220" y="2896"/>
                  <a:pt x="321573" y="16508"/>
                </a:cubicBezTo>
                <a:cubicBezTo>
                  <a:pt x="325926" y="30121"/>
                  <a:pt x="339567" y="82542"/>
                  <a:pt x="363366" y="98181"/>
                </a:cubicBezTo>
                <a:cubicBezTo>
                  <a:pt x="382231" y="110345"/>
                  <a:pt x="416768" y="106580"/>
                  <a:pt x="416768" y="106580"/>
                </a:cubicBezTo>
                <a:cubicBezTo>
                  <a:pt x="1056431" y="106580"/>
                  <a:pt x="1056431" y="106580"/>
                  <a:pt x="1056431" y="106580"/>
                </a:cubicBezTo>
                <a:cubicBezTo>
                  <a:pt x="1056431" y="106580"/>
                  <a:pt x="1080229" y="107739"/>
                  <a:pt x="1095902" y="87755"/>
                </a:cubicBezTo>
                <a:cubicBezTo>
                  <a:pt x="1111574" y="68061"/>
                  <a:pt x="1130439" y="9847"/>
                  <a:pt x="1130439" y="9847"/>
                </a:cubicBezTo>
                <a:cubicBezTo>
                  <a:pt x="1130439" y="9847"/>
                  <a:pt x="1133051" y="579"/>
                  <a:pt x="1147562" y="579"/>
                </a:cubicBezTo>
                <a:cubicBezTo>
                  <a:pt x="1162364" y="579"/>
                  <a:pt x="1255237" y="579"/>
                  <a:pt x="1262202" y="579"/>
                </a:cubicBezTo>
                <a:cubicBezTo>
                  <a:pt x="1265395" y="579"/>
                  <a:pt x="1344337" y="15060"/>
                  <a:pt x="1389032" y="62558"/>
                </a:cubicBezTo>
                <a:cubicBezTo>
                  <a:pt x="1411089" y="86017"/>
                  <a:pt x="1431115" y="114400"/>
                  <a:pt x="1440112" y="140466"/>
                </a:cubicBezTo>
                <a:cubicBezTo>
                  <a:pt x="1451431" y="172324"/>
                  <a:pt x="1452882" y="200128"/>
                  <a:pt x="1452882" y="200128"/>
                </a:cubicBezTo>
                <a:cubicBezTo>
                  <a:pt x="1452882" y="2893886"/>
                  <a:pt x="1452882" y="2893886"/>
                  <a:pt x="1452882" y="2893886"/>
                </a:cubicBezTo>
                <a:cubicBezTo>
                  <a:pt x="1452882" y="2893886"/>
                  <a:pt x="1443305" y="2974690"/>
                  <a:pt x="1400061" y="3015816"/>
                </a:cubicBezTo>
                <a:cubicBezTo>
                  <a:pt x="1373360" y="3041302"/>
                  <a:pt x="1353334" y="3058100"/>
                  <a:pt x="1327794" y="3069396"/>
                </a:cubicBezTo>
                <a:cubicBezTo>
                  <a:pt x="1287742" y="3087352"/>
                  <a:pt x="1250013" y="3088800"/>
                  <a:pt x="1250013" y="3088800"/>
                </a:cubicBezTo>
                <a:cubicBezTo>
                  <a:pt x="195904" y="3088800"/>
                  <a:pt x="195904" y="3088800"/>
                  <a:pt x="195904" y="3088800"/>
                </a:cubicBezTo>
                <a:cubicBezTo>
                  <a:pt x="195904" y="3088800"/>
                  <a:pt x="157013" y="3084456"/>
                  <a:pt x="120445" y="3067368"/>
                </a:cubicBezTo>
                <a:cubicBezTo>
                  <a:pt x="85908" y="3051439"/>
                  <a:pt x="72267" y="3034641"/>
                  <a:pt x="48178" y="3008865"/>
                </a:cubicBezTo>
                <a:cubicBezTo>
                  <a:pt x="581" y="2957602"/>
                  <a:pt x="0" y="2877957"/>
                  <a:pt x="0" y="2877957"/>
                </a:cubicBezTo>
                <a:lnTo>
                  <a:pt x="871" y="204472"/>
                </a:lnTo>
                <a:cubicBezTo>
                  <a:pt x="871" y="204472"/>
                  <a:pt x="1161" y="167111"/>
                  <a:pt x="17704" y="126854"/>
                </a:cubicBezTo>
                <a:cubicBezTo>
                  <a:pt x="27572" y="102815"/>
                  <a:pt x="49049" y="78198"/>
                  <a:pt x="68784" y="58503"/>
                </a:cubicBezTo>
                <a:cubicBezTo>
                  <a:pt x="117252" y="9268"/>
                  <a:pt x="202870" y="0"/>
                  <a:pt x="202870" y="0"/>
                </a:cubicBezTo>
                <a:close/>
              </a:path>
            </a:pathLst>
          </a:custGeom>
          <a:noFill/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23643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, Content and iPho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0A5685-ADC9-4197-AAEB-665323328B34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5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B1E377C-23FC-445F-9057-22E1F95A48B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80"/>
          <a:stretch/>
        </p:blipFill>
        <p:spPr>
          <a:xfrm>
            <a:off x="5837153" y="18049"/>
            <a:ext cx="6528348" cy="68399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3689"/>
            <a:ext cx="5056675" cy="3329423"/>
          </a:xfrm>
        </p:spPr>
        <p:txBody>
          <a:bodyPr spcCol="54000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231F20"/>
                </a:solidFill>
              </a:rPr>
              <a:t>Asurion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>
                <a:solidFill>
                  <a:srgbClr val="231F20"/>
                </a:solidFill>
              </a:rPr>
              <a:pPr/>
              <a:t>‹#›</a:t>
            </a:fld>
            <a:endParaRPr>
              <a:solidFill>
                <a:srgbClr val="231F20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639103-1054-48CB-9C4A-BC221A9D489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0063" y="1481655"/>
            <a:ext cx="5056675" cy="78676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5BB1AFEC-6A42-4E41-9AB3-8AA1E87ADC0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05554" y="872975"/>
            <a:ext cx="2456870" cy="5220000"/>
          </a:xfrm>
          <a:custGeom>
            <a:avLst/>
            <a:gdLst>
              <a:gd name="connsiteX0" fmla="*/ 202870 w 1452882"/>
              <a:gd name="connsiteY0" fmla="*/ 0 h 3088800"/>
              <a:gd name="connsiteX1" fmla="*/ 307352 w 1452882"/>
              <a:gd name="connsiteY1" fmla="*/ 0 h 3088800"/>
              <a:gd name="connsiteX2" fmla="*/ 321573 w 1452882"/>
              <a:gd name="connsiteY2" fmla="*/ 16508 h 3088800"/>
              <a:gd name="connsiteX3" fmla="*/ 363366 w 1452882"/>
              <a:gd name="connsiteY3" fmla="*/ 98181 h 3088800"/>
              <a:gd name="connsiteX4" fmla="*/ 416768 w 1452882"/>
              <a:gd name="connsiteY4" fmla="*/ 106580 h 3088800"/>
              <a:gd name="connsiteX5" fmla="*/ 1056431 w 1452882"/>
              <a:gd name="connsiteY5" fmla="*/ 106580 h 3088800"/>
              <a:gd name="connsiteX6" fmla="*/ 1095902 w 1452882"/>
              <a:gd name="connsiteY6" fmla="*/ 87755 h 3088800"/>
              <a:gd name="connsiteX7" fmla="*/ 1130439 w 1452882"/>
              <a:gd name="connsiteY7" fmla="*/ 9847 h 3088800"/>
              <a:gd name="connsiteX8" fmla="*/ 1147562 w 1452882"/>
              <a:gd name="connsiteY8" fmla="*/ 579 h 3088800"/>
              <a:gd name="connsiteX9" fmla="*/ 1262202 w 1452882"/>
              <a:gd name="connsiteY9" fmla="*/ 579 h 3088800"/>
              <a:gd name="connsiteX10" fmla="*/ 1389032 w 1452882"/>
              <a:gd name="connsiteY10" fmla="*/ 62558 h 3088800"/>
              <a:gd name="connsiteX11" fmla="*/ 1440112 w 1452882"/>
              <a:gd name="connsiteY11" fmla="*/ 140466 h 3088800"/>
              <a:gd name="connsiteX12" fmla="*/ 1452882 w 1452882"/>
              <a:gd name="connsiteY12" fmla="*/ 200128 h 3088800"/>
              <a:gd name="connsiteX13" fmla="*/ 1452882 w 1452882"/>
              <a:gd name="connsiteY13" fmla="*/ 2893886 h 3088800"/>
              <a:gd name="connsiteX14" fmla="*/ 1400061 w 1452882"/>
              <a:gd name="connsiteY14" fmla="*/ 3015816 h 3088800"/>
              <a:gd name="connsiteX15" fmla="*/ 1327794 w 1452882"/>
              <a:gd name="connsiteY15" fmla="*/ 3069396 h 3088800"/>
              <a:gd name="connsiteX16" fmla="*/ 1250013 w 1452882"/>
              <a:gd name="connsiteY16" fmla="*/ 3088800 h 3088800"/>
              <a:gd name="connsiteX17" fmla="*/ 195904 w 1452882"/>
              <a:gd name="connsiteY17" fmla="*/ 3088800 h 3088800"/>
              <a:gd name="connsiteX18" fmla="*/ 120445 w 1452882"/>
              <a:gd name="connsiteY18" fmla="*/ 3067368 h 3088800"/>
              <a:gd name="connsiteX19" fmla="*/ 48178 w 1452882"/>
              <a:gd name="connsiteY19" fmla="*/ 3008865 h 3088800"/>
              <a:gd name="connsiteX20" fmla="*/ 0 w 1452882"/>
              <a:gd name="connsiteY20" fmla="*/ 2877957 h 3088800"/>
              <a:gd name="connsiteX21" fmla="*/ 871 w 1452882"/>
              <a:gd name="connsiteY21" fmla="*/ 204472 h 3088800"/>
              <a:gd name="connsiteX22" fmla="*/ 17704 w 1452882"/>
              <a:gd name="connsiteY22" fmla="*/ 126854 h 3088800"/>
              <a:gd name="connsiteX23" fmla="*/ 68784 w 1452882"/>
              <a:gd name="connsiteY23" fmla="*/ 58503 h 3088800"/>
              <a:gd name="connsiteX24" fmla="*/ 202870 w 1452882"/>
              <a:gd name="connsiteY24" fmla="*/ 0 h 30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52882" h="3088800">
                <a:moveTo>
                  <a:pt x="202870" y="0"/>
                </a:moveTo>
                <a:cubicBezTo>
                  <a:pt x="307352" y="0"/>
                  <a:pt x="307352" y="0"/>
                  <a:pt x="307352" y="0"/>
                </a:cubicBezTo>
                <a:cubicBezTo>
                  <a:pt x="307352" y="0"/>
                  <a:pt x="317220" y="2896"/>
                  <a:pt x="321573" y="16508"/>
                </a:cubicBezTo>
                <a:cubicBezTo>
                  <a:pt x="325926" y="30121"/>
                  <a:pt x="339567" y="82542"/>
                  <a:pt x="363366" y="98181"/>
                </a:cubicBezTo>
                <a:cubicBezTo>
                  <a:pt x="382231" y="110345"/>
                  <a:pt x="416768" y="106580"/>
                  <a:pt x="416768" y="106580"/>
                </a:cubicBezTo>
                <a:cubicBezTo>
                  <a:pt x="1056431" y="106580"/>
                  <a:pt x="1056431" y="106580"/>
                  <a:pt x="1056431" y="106580"/>
                </a:cubicBezTo>
                <a:cubicBezTo>
                  <a:pt x="1056431" y="106580"/>
                  <a:pt x="1080229" y="107739"/>
                  <a:pt x="1095902" y="87755"/>
                </a:cubicBezTo>
                <a:cubicBezTo>
                  <a:pt x="1111574" y="68061"/>
                  <a:pt x="1130439" y="9847"/>
                  <a:pt x="1130439" y="9847"/>
                </a:cubicBezTo>
                <a:cubicBezTo>
                  <a:pt x="1130439" y="9847"/>
                  <a:pt x="1133051" y="579"/>
                  <a:pt x="1147562" y="579"/>
                </a:cubicBezTo>
                <a:cubicBezTo>
                  <a:pt x="1162364" y="579"/>
                  <a:pt x="1255237" y="579"/>
                  <a:pt x="1262202" y="579"/>
                </a:cubicBezTo>
                <a:cubicBezTo>
                  <a:pt x="1265395" y="579"/>
                  <a:pt x="1344337" y="15060"/>
                  <a:pt x="1389032" y="62558"/>
                </a:cubicBezTo>
                <a:cubicBezTo>
                  <a:pt x="1411089" y="86017"/>
                  <a:pt x="1431115" y="114400"/>
                  <a:pt x="1440112" y="140466"/>
                </a:cubicBezTo>
                <a:cubicBezTo>
                  <a:pt x="1451431" y="172324"/>
                  <a:pt x="1452882" y="200128"/>
                  <a:pt x="1452882" y="200128"/>
                </a:cubicBezTo>
                <a:cubicBezTo>
                  <a:pt x="1452882" y="2893886"/>
                  <a:pt x="1452882" y="2893886"/>
                  <a:pt x="1452882" y="2893886"/>
                </a:cubicBezTo>
                <a:cubicBezTo>
                  <a:pt x="1452882" y="2893886"/>
                  <a:pt x="1443305" y="2974690"/>
                  <a:pt x="1400061" y="3015816"/>
                </a:cubicBezTo>
                <a:cubicBezTo>
                  <a:pt x="1373360" y="3041302"/>
                  <a:pt x="1353334" y="3058100"/>
                  <a:pt x="1327794" y="3069396"/>
                </a:cubicBezTo>
                <a:cubicBezTo>
                  <a:pt x="1287742" y="3087352"/>
                  <a:pt x="1250013" y="3088800"/>
                  <a:pt x="1250013" y="3088800"/>
                </a:cubicBezTo>
                <a:cubicBezTo>
                  <a:pt x="195904" y="3088800"/>
                  <a:pt x="195904" y="3088800"/>
                  <a:pt x="195904" y="3088800"/>
                </a:cubicBezTo>
                <a:cubicBezTo>
                  <a:pt x="195904" y="3088800"/>
                  <a:pt x="157013" y="3084456"/>
                  <a:pt x="120445" y="3067368"/>
                </a:cubicBezTo>
                <a:cubicBezTo>
                  <a:pt x="85908" y="3051439"/>
                  <a:pt x="72267" y="3034641"/>
                  <a:pt x="48178" y="3008865"/>
                </a:cubicBezTo>
                <a:cubicBezTo>
                  <a:pt x="581" y="2957602"/>
                  <a:pt x="0" y="2877957"/>
                  <a:pt x="0" y="2877957"/>
                </a:cubicBezTo>
                <a:lnTo>
                  <a:pt x="871" y="204472"/>
                </a:lnTo>
                <a:cubicBezTo>
                  <a:pt x="871" y="204472"/>
                  <a:pt x="1161" y="167111"/>
                  <a:pt x="17704" y="126854"/>
                </a:cubicBezTo>
                <a:cubicBezTo>
                  <a:pt x="27572" y="102815"/>
                  <a:pt x="49049" y="78198"/>
                  <a:pt x="68784" y="58503"/>
                </a:cubicBezTo>
                <a:cubicBezTo>
                  <a:pt x="117252" y="9268"/>
                  <a:pt x="202870" y="0"/>
                  <a:pt x="202870" y="0"/>
                </a:cubicBezTo>
                <a:close/>
              </a:path>
            </a:pathLst>
          </a:custGeom>
          <a:noFill/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973251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rge Quote with Ima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4D66C40-4190-451C-BFBE-6482F5E51F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algn="r">
              <a:defRPr/>
            </a:lvl1pPr>
          </a:lstStyle>
          <a:p>
            <a:r>
              <a:rPr lang="en-US"/>
              <a:t>&lt;Click Icon to add image </a:t>
            </a:r>
            <a:endParaRPr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59EB59-5BB5-46C4-96FD-D1649C3BDE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82A4FB-3DFD-41EC-92CF-1DD7104087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89870444-DC05-4334-BFD6-251E58C00D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8912" y="502920"/>
            <a:ext cx="5592445" cy="5378450"/>
          </a:xfrm>
        </p:spPr>
        <p:txBody>
          <a:bodyPr/>
          <a:lstStyle>
            <a:lvl1pPr marL="180975" indent="-169863">
              <a:lnSpc>
                <a:spcPct val="100000"/>
              </a:lnSpc>
              <a:tabLst/>
              <a:defRPr sz="3200" b="0"/>
            </a:lvl1pPr>
            <a:lvl2pPr marL="447675" indent="-279400">
              <a:lnSpc>
                <a:spcPct val="100000"/>
              </a:lnSpc>
              <a:spcBef>
                <a:spcPts val="4200"/>
              </a:spcBef>
              <a:buClr>
                <a:schemeClr val="tx1"/>
              </a:buClr>
              <a:buFont typeface="Arial" panose="020B0604020202020204" pitchFamily="34" charset="0"/>
              <a:buChar char="―"/>
              <a:tabLst/>
              <a:defRPr/>
            </a:lvl2pPr>
            <a:lvl3pPr marL="628650" indent="-176213">
              <a:defRPr/>
            </a:lvl3pPr>
            <a:lvl4pPr marL="804863" indent="-180975">
              <a:defRPr/>
            </a:lvl4pPr>
            <a:lvl5pPr marL="985838" indent="-180975">
              <a:defRPr/>
            </a:lvl5pPr>
          </a:lstStyle>
          <a:p>
            <a:pPr lvl="0"/>
            <a:r>
              <a:t>“Click to edit Master text style</a:t>
            </a:r>
          </a:p>
          <a:p>
            <a:pPr lvl="1"/>
            <a:r>
              <a:t>Second level</a:t>
            </a:r>
          </a:p>
        </p:txBody>
      </p:sp>
      <p:grpSp>
        <p:nvGrpSpPr>
          <p:cNvPr id="21" name="asurion logo">
            <a:extLst>
              <a:ext uri="{FF2B5EF4-FFF2-40B4-BE49-F238E27FC236}">
                <a16:creationId xmlns:a16="http://schemas.microsoft.com/office/drawing/2014/main" id="{E55B49D8-5EEE-AD48-9EBD-B5AFB6C0983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1" y="6390186"/>
            <a:ext cx="918000" cy="213052"/>
            <a:chOff x="316" y="3952"/>
            <a:chExt cx="586" cy="136"/>
          </a:xfrm>
          <a:solidFill>
            <a:schemeClr val="tx1"/>
          </a:solidFill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6B58FAA7-A5CD-834E-B388-106BCA70F5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19992F17-3371-C547-8892-9B61328C15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13444910-E83A-454A-8F5F-98B05F75D2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7891E522-2F07-4E42-BB54-F095120429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A7914F86-14E6-F24C-93D3-9E74D4CDC2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586A02BD-5E6F-9A43-924A-4527C76B007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C3848A2A-2BA2-C445-8994-F35C259D7A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2193074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Quote with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D8020A8B-C6C0-D446-B3B4-3B71BF4A549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43650" y="0"/>
            <a:ext cx="58483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t>Asurion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2C061E27-6E5D-0F45-87C9-E8095C3CAE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8912" y="502920"/>
            <a:ext cx="5592445" cy="5378450"/>
          </a:xfrm>
        </p:spPr>
        <p:txBody>
          <a:bodyPr/>
          <a:lstStyle>
            <a:lvl1pPr marL="182880" indent="-173736">
              <a:lnSpc>
                <a:spcPct val="100000"/>
              </a:lnSpc>
              <a:tabLst/>
              <a:defRPr sz="3200" b="0"/>
            </a:lvl1pPr>
            <a:lvl2pPr marL="447675" indent="-279400">
              <a:lnSpc>
                <a:spcPct val="100000"/>
              </a:lnSpc>
              <a:spcBef>
                <a:spcPts val="4200"/>
              </a:spcBef>
              <a:buClr>
                <a:schemeClr val="tx1"/>
              </a:buClr>
              <a:buFont typeface="Arial" panose="020B0604020202020204" pitchFamily="34" charset="0"/>
              <a:buChar char="―"/>
              <a:tabLst/>
              <a:defRPr/>
            </a:lvl2pPr>
            <a:lvl3pPr marL="628650" indent="-176213">
              <a:defRPr/>
            </a:lvl3pPr>
            <a:lvl4pPr marL="804863" indent="-180975">
              <a:defRPr/>
            </a:lvl4pPr>
            <a:lvl5pPr marL="985838" indent="-180975">
              <a:defRPr/>
            </a:lvl5pPr>
          </a:lstStyle>
          <a:p>
            <a:pPr lvl="0"/>
            <a:r>
              <a:t>“Click to edit Master text style</a:t>
            </a:r>
          </a:p>
          <a:p>
            <a:pPr lvl="1"/>
            <a: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82384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Text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>
            <a:extLst>
              <a:ext uri="{FF2B5EF4-FFF2-40B4-BE49-F238E27FC236}">
                <a16:creationId xmlns:a16="http://schemas.microsoft.com/office/drawing/2014/main" id="{8DB64F27-9AE8-0B46-A470-371BD746B7B5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32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22F74907-9901-41D8-B02E-D5156ACAC59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t>Asurion Internal Use Only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CD76F14-B7C1-4783-A9BB-4763BFA8875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523840A8-30E6-8342-B7EF-D226048008E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0063" y="2281373"/>
            <a:ext cx="5095874" cy="923330"/>
          </a:xfrm>
        </p:spPr>
        <p:txBody>
          <a:bodyPr wrap="square" lIns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6000" b="0"/>
            </a:lvl1pPr>
          </a:lstStyle>
          <a:p>
            <a:pPr lvl="0"/>
            <a:r>
              <a:t>Click to edit</a:t>
            </a:r>
          </a:p>
        </p:txBody>
      </p:sp>
      <p:sp>
        <p:nvSpPr>
          <p:cNvPr id="106" name="Text Placeholder 4">
            <a:extLst>
              <a:ext uri="{FF2B5EF4-FFF2-40B4-BE49-F238E27FC236}">
                <a16:creationId xmlns:a16="http://schemas.microsoft.com/office/drawing/2014/main" id="{69BB6328-9600-6B44-B410-6228CDEF901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0064" y="3257439"/>
            <a:ext cx="5095874" cy="1445421"/>
          </a:xfrm>
        </p:spPr>
        <p:txBody>
          <a:bodyPr lIns="0"/>
          <a:lstStyle>
            <a:lvl1pPr algn="l">
              <a:lnSpc>
                <a:spcPct val="100000"/>
              </a:lnSpc>
              <a:spcBef>
                <a:spcPts val="300"/>
              </a:spcBef>
              <a:defRPr sz="18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8601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Text N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2462A87A-469A-A743-8042-DB4369DE1B20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804864"/>
            <a:ext cx="5056632" cy="4822214"/>
          </a:xfrm>
        </p:spPr>
        <p:txBody>
          <a:bodyPr anchor="ctr" anchorCtr="0"/>
          <a:lstStyle>
            <a:lvl1pPr>
              <a:lnSpc>
                <a:spcPct val="90000"/>
              </a:lnSpc>
              <a:defRPr sz="8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DF938D9-FDBF-4E2E-9864-B9A3DEB81AA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t>Asurion Internal Use Only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3F92F295-8332-4AF1-945C-EF34A8F3D0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EEF77736-11B3-FD47-8D1A-0948642A926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97748" y="1387172"/>
            <a:ext cx="5094189" cy="3657599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1800" b="0"/>
            </a:lvl1pPr>
          </a:lstStyle>
          <a:p>
            <a:pPr lvl="0"/>
            <a:r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9203573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r Team Layou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0DFA8-C5FE-DB44-9BF9-1274EAD5637C}" type="slidenum">
              <a:rPr/>
              <a:t>‹#›</a:t>
            </a:fld>
            <a:endParaRPr/>
          </a:p>
        </p:txBody>
      </p:sp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en-US" sz="11500" b="0" i="0" spc="100">
                <a:solidFill>
                  <a:srgbClr val="FFFFFF"/>
                </a:solidFill>
                <a:latin typeface="+mj-lt"/>
              </a:rPr>
              <a:t>MORE</a:t>
            </a:r>
            <a:br>
              <a:rPr sz="11500" b="0" i="0" spc="100">
                <a:solidFill>
                  <a:srgbClr val="FFFFFF"/>
                </a:solidFill>
                <a:latin typeface="+mj-lt"/>
              </a:rPr>
            </a:br>
            <a:r>
              <a:rPr sz="11500" b="0" i="0" spc="100">
                <a:solidFill>
                  <a:srgbClr val="FFFFFF"/>
                </a:solidFill>
                <a:latin typeface="+mj-lt"/>
              </a:rPr>
              <a:t>LAYOU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0C9D3A-9A1A-C140-B0F7-9A8C63C4D4BD}"/>
              </a:ext>
            </a:extLst>
          </p:cNvPr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sz="1100" b="0" i="0" kern="1200">
                <a:solidFill>
                  <a:schemeClr val="bg1">
                    <a:lumMod val="85000"/>
                  </a:schemeClr>
                </a:solidFill>
                <a:effectLst/>
                <a:latin typeface="+mn-lt"/>
                <a:ea typeface="+mn-ea"/>
                <a:cs typeface="+mn-cs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41089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r Team - Her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7A85A9E-2A2D-433F-BD91-82053E5A19D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43650" y="0"/>
            <a:ext cx="5848350" cy="6858000"/>
          </a:xfrm>
        </p:spPr>
        <p:txBody>
          <a:bodyPr anchor="ctr"/>
          <a:lstStyle>
            <a:lvl1pPr algn="l">
              <a:defRPr/>
            </a:lvl1pPr>
          </a:lstStyle>
          <a:p>
            <a:r>
              <a:rPr lang="en-US"/>
              <a:t>Click icon to add image&gt;</a:t>
            </a: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272087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4C8F12B-D471-4524-A21D-E2E0C4A3A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203B0C-11E9-4FDC-A004-C78D9EB13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97D1946-A27B-43F9-B00A-FC4DE83AD0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0063" y="3091180"/>
            <a:ext cx="5272087" cy="2755582"/>
          </a:xfrm>
        </p:spPr>
        <p:txBody>
          <a:bodyPr spcCol="540000"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0678756-BBF3-439F-ADEE-A76D2E9A1370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0063" y="2019945"/>
            <a:ext cx="5272087" cy="786765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2000" b="1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5562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r Team - 4 Peo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4C8F12B-D471-4524-A21D-E2E0C4A3A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203B0C-11E9-4FDC-A004-C78D9EB13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42ACEDA4-5C2A-4931-AC44-4B272EE3D58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00062" y="2539729"/>
            <a:ext cx="2547937" cy="2671005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F760FFA7-619E-40DF-AC66-F5C11B33A9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00063" y="5312999"/>
            <a:ext cx="2547936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CD369C5-DA54-4EC8-A861-59B2E550C75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0063" y="1459594"/>
            <a:ext cx="5799137" cy="844899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Picture Placeholder 8">
            <a:extLst>
              <a:ext uri="{FF2B5EF4-FFF2-40B4-BE49-F238E27FC236}">
                <a16:creationId xmlns:a16="http://schemas.microsoft.com/office/drawing/2014/main" id="{B5446C24-2D9C-42B4-901E-1052A1C6C28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381374" y="2539729"/>
            <a:ext cx="2547937" cy="2671005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7CB72C08-8293-4857-B537-E62B2714B7F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81375" y="5312999"/>
            <a:ext cx="2547936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3" name="Picture Placeholder 8">
            <a:extLst>
              <a:ext uri="{FF2B5EF4-FFF2-40B4-BE49-F238E27FC236}">
                <a16:creationId xmlns:a16="http://schemas.microsoft.com/office/drawing/2014/main" id="{2A475AAB-A6A9-4D28-90C7-B96351B827EF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262686" y="2539729"/>
            <a:ext cx="2547937" cy="2671005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2C717BB1-0365-4267-8343-54A47BB3B84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62687" y="5312999"/>
            <a:ext cx="2547936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5" name="Picture Placeholder 8">
            <a:extLst>
              <a:ext uri="{FF2B5EF4-FFF2-40B4-BE49-F238E27FC236}">
                <a16:creationId xmlns:a16="http://schemas.microsoft.com/office/drawing/2014/main" id="{52CFDD9E-D8C9-4A66-B0BF-B1F5FECE10A7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143999" y="2539729"/>
            <a:ext cx="2547937" cy="2671005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7291B81A-9C50-4F49-A41B-441287B3D49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144000" y="5312999"/>
            <a:ext cx="2547936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400219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r Team - 10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4C8F12B-D471-4524-A21D-E2E0C4A3A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203B0C-11E9-4FDC-A004-C78D9EB13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A96F96D-5B2A-4821-929C-693CE24507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54063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2C5BA96-5869-4596-91D0-7DD77C3EB1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4063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973D2E0-934B-41D5-82A0-62209386DE7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0658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A25A260C-231A-4C7D-AC21-2F7C4413A85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0658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C66A25ED-9F96-4CE8-9724-8845BA58AF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327253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52BC4897-BC53-48EB-A869-983B961BAEC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327253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7F9493D9-27E8-4C58-8C9A-BD758C433DA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613848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B1B0EC22-7FA4-4FEC-84D2-F2823D45EF7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613848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044B693C-2ED8-48BA-B28D-0F6D5403062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900444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374A221F-25BC-4324-A8A9-E1AE12AF1C7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900444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42ACEDA4-5C2A-4931-AC44-4B272EE3D58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54063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F760FFA7-619E-40DF-AC66-F5C11B33A9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4063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2CE14DD0-BB0E-4446-ABC6-6CFED7CDCB1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040658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71592548-EBE0-45EC-8256-9C52CC8304E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040658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Picture Placeholder 8">
            <a:extLst>
              <a:ext uri="{FF2B5EF4-FFF2-40B4-BE49-F238E27FC236}">
                <a16:creationId xmlns:a16="http://schemas.microsoft.com/office/drawing/2014/main" id="{EE677E7A-20A3-4078-9426-D487E58A945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5327253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E565FACF-CA40-43FE-A69B-85DF95209ED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327253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Picture Placeholder 8">
            <a:extLst>
              <a:ext uri="{FF2B5EF4-FFF2-40B4-BE49-F238E27FC236}">
                <a16:creationId xmlns:a16="http://schemas.microsoft.com/office/drawing/2014/main" id="{29F613E7-EBD7-4FE9-B4BD-EC08FA1677FF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7613848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73B69718-9FDD-4EF4-BF7F-2D4BFA41DEA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613848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Picture Placeholder 8">
            <a:extLst>
              <a:ext uri="{FF2B5EF4-FFF2-40B4-BE49-F238E27FC236}">
                <a16:creationId xmlns:a16="http://schemas.microsoft.com/office/drawing/2014/main" id="{F9657D82-B2B7-42EE-A283-C05595EE506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900444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98492975-1781-40CF-AD27-B854895CB94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900444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02076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our Content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0000"/>
            <a:ext cx="25860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1157396-66F3-4131-832E-DED0E7ABE71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93269" y="2520000"/>
            <a:ext cx="25860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0226DC9-EE88-4C38-BFC7-8CF1082EDBD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86475" y="2520000"/>
            <a:ext cx="25860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DF938D9-FDBF-4E2E-9864-B9A3DEB81AA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3F92F295-8332-4AF1-945C-EF34A8F3D0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151B05AA-B42D-4FA0-948C-88C9B0D745D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879681" y="2520000"/>
            <a:ext cx="25860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8742046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r Team Dark - Her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7A85A9E-2A2D-433F-BD91-82053E5A19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43650" y="0"/>
            <a:ext cx="58483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272087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4C8F12B-D471-4524-A21D-E2E0C4A3A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203B0C-11E9-4FDC-A004-C78D9EB13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97D1946-A27B-43F9-B00A-FC4DE83AD0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0063" y="3091180"/>
            <a:ext cx="5272087" cy="2755582"/>
          </a:xfrm>
        </p:spPr>
        <p:txBody>
          <a:bodyPr spcCol="540000"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0678756-BBF3-439F-ADEE-A76D2E9A1370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0063" y="2019945"/>
            <a:ext cx="5272087" cy="786765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2000" b="1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112087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r Team Dark - 4 Peo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4C8F12B-D471-4524-A21D-E2E0C4A3A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203B0C-11E9-4FDC-A004-C78D9EB13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42ACEDA4-5C2A-4931-AC44-4B272EE3D58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00062" y="2539729"/>
            <a:ext cx="2547937" cy="2671005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F760FFA7-619E-40DF-AC66-F5C11B33A9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00063" y="5312999"/>
            <a:ext cx="2547936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CD369C5-DA54-4EC8-A861-59B2E550C75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0063" y="1459594"/>
            <a:ext cx="5799137" cy="844899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Picture Placeholder 8">
            <a:extLst>
              <a:ext uri="{FF2B5EF4-FFF2-40B4-BE49-F238E27FC236}">
                <a16:creationId xmlns:a16="http://schemas.microsoft.com/office/drawing/2014/main" id="{B5446C24-2D9C-42B4-901E-1052A1C6C28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381374" y="2539729"/>
            <a:ext cx="2547937" cy="2671005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7CB72C08-8293-4857-B537-E62B2714B7F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81375" y="5312999"/>
            <a:ext cx="2547936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3" name="Picture Placeholder 8">
            <a:extLst>
              <a:ext uri="{FF2B5EF4-FFF2-40B4-BE49-F238E27FC236}">
                <a16:creationId xmlns:a16="http://schemas.microsoft.com/office/drawing/2014/main" id="{2A475AAB-A6A9-4D28-90C7-B96351B827EF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262686" y="2539729"/>
            <a:ext cx="2547937" cy="2671005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2C717BB1-0365-4267-8343-54A47BB3B84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62687" y="5312999"/>
            <a:ext cx="2547936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5" name="Picture Placeholder 8">
            <a:extLst>
              <a:ext uri="{FF2B5EF4-FFF2-40B4-BE49-F238E27FC236}">
                <a16:creationId xmlns:a16="http://schemas.microsoft.com/office/drawing/2014/main" id="{52CFDD9E-D8C9-4A66-B0BF-B1F5FECE10A7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143999" y="2539729"/>
            <a:ext cx="2547937" cy="2671005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7291B81A-9C50-4F49-A41B-441287B3D49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144000" y="5312999"/>
            <a:ext cx="2547936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749878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r Team Dark - 10 Peo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4C8F12B-D471-4524-A21D-E2E0C4A3A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203B0C-11E9-4FDC-A004-C78D9EB13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A96F96D-5B2A-4821-929C-693CE24507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54063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2C5BA96-5869-4596-91D0-7DD77C3EB1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4063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973D2E0-934B-41D5-82A0-62209386DE7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0658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A25A260C-231A-4C7D-AC21-2F7C4413A85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0658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C66A25ED-9F96-4CE8-9724-8845BA58AF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327253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52BC4897-BC53-48EB-A869-983B961BAEC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327253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7F9493D9-27E8-4C58-8C9A-BD758C433DA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613848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B1B0EC22-7FA4-4FEC-84D2-F2823D45EF7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613848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044B693C-2ED8-48BA-B28D-0F6D5403062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900444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374A221F-25BC-4324-A8A9-E1AE12AF1C7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900444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42ACEDA4-5C2A-4931-AC44-4B272EE3D58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54063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F760FFA7-619E-40DF-AC66-F5C11B33A9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4063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2CE14DD0-BB0E-4446-ABC6-6CFED7CDCB1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040658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71592548-EBE0-45EC-8256-9C52CC8304E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040658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Picture Placeholder 8">
            <a:extLst>
              <a:ext uri="{FF2B5EF4-FFF2-40B4-BE49-F238E27FC236}">
                <a16:creationId xmlns:a16="http://schemas.microsoft.com/office/drawing/2014/main" id="{EE677E7A-20A3-4078-9426-D487E58A945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5327253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E565FACF-CA40-43FE-A69B-85DF95209ED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327253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Picture Placeholder 8">
            <a:extLst>
              <a:ext uri="{FF2B5EF4-FFF2-40B4-BE49-F238E27FC236}">
                <a16:creationId xmlns:a16="http://schemas.microsoft.com/office/drawing/2014/main" id="{29F613E7-EBD7-4FE9-B4BD-EC08FA1677FF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7613848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73B69718-9FDD-4EF4-BF7F-2D4BFA41DEA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613848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Picture Placeholder 8">
            <a:extLst>
              <a:ext uri="{FF2B5EF4-FFF2-40B4-BE49-F238E27FC236}">
                <a16:creationId xmlns:a16="http://schemas.microsoft.com/office/drawing/2014/main" id="{F9657D82-B2B7-42EE-A283-C05595EE506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900444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98492975-1781-40CF-AD27-B854895CB94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900444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738756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oid layou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0DFA8-C5FE-DB44-9BF9-1274EAD5637C}" type="slidenum">
              <a:rPr/>
              <a:t>‹#›</a:t>
            </a:fld>
            <a:endParaRPr/>
          </a:p>
        </p:txBody>
      </p:sp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sz="11500" b="0" i="0" spc="100">
                <a:solidFill>
                  <a:srgbClr val="FFFFFF"/>
                </a:solidFill>
                <a:latin typeface="+mj-lt"/>
              </a:rPr>
              <a:t>FACTOID</a:t>
            </a:r>
            <a:br>
              <a:rPr sz="11500" b="0" i="0" spc="100">
                <a:solidFill>
                  <a:srgbClr val="FFFFFF"/>
                </a:solidFill>
                <a:latin typeface="+mj-lt"/>
              </a:rPr>
            </a:br>
            <a:r>
              <a:rPr sz="11500" b="0" i="0" spc="100">
                <a:solidFill>
                  <a:srgbClr val="FFFFFF"/>
                </a:solidFill>
                <a:latin typeface="+mj-lt"/>
              </a:rPr>
              <a:t>LAYOU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0C9D3A-9A1A-C140-B0F7-9A8C63C4D4BD}"/>
              </a:ext>
            </a:extLst>
          </p:cNvPr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sz="1100" b="0" i="0" kern="1200">
                <a:solidFill>
                  <a:schemeClr val="bg1">
                    <a:lumMod val="85000"/>
                  </a:schemeClr>
                </a:solidFill>
                <a:effectLst/>
                <a:latin typeface="+mn-lt"/>
                <a:ea typeface="+mn-ea"/>
                <a:cs typeface="+mn-cs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5113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llustration with Facto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22F74907-9901-41D8-B02E-D5156ACAC59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CD76F14-B7C1-4783-A9BB-4763BFA8875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3466A7-5C27-FB4B-A9B7-F2C26253EB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95799" y="2661861"/>
            <a:ext cx="5344954" cy="923330"/>
          </a:xfrm>
        </p:spPr>
        <p:txBody>
          <a:bodyPr wrap="square" lIns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6000" b="0"/>
            </a:lvl1pPr>
          </a:lstStyle>
          <a:p>
            <a:pPr lvl="0"/>
            <a:r>
              <a:t>Click to edi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47CD0EF-8E5D-2D41-8F67-55AB7DD0D3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95800" y="3637927"/>
            <a:ext cx="5344954" cy="1100547"/>
          </a:xfrm>
        </p:spPr>
        <p:txBody>
          <a:bodyPr lIns="0"/>
          <a:lstStyle>
            <a:lvl1pPr algn="l">
              <a:lnSpc>
                <a:spcPct val="100000"/>
              </a:lnSpc>
              <a:spcBef>
                <a:spcPts val="0"/>
              </a:spcBef>
              <a:defRPr sz="1800" b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3AED009-9A6B-3C46-8DBC-C47FFB4586AF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174489" y="2483443"/>
            <a:ext cx="2210344" cy="2354581"/>
          </a:xfrm>
        </p:spPr>
        <p:txBody>
          <a:bodyPr/>
          <a:lstStyle>
            <a:lvl1pPr>
              <a:defRPr sz="1200" b="0"/>
            </a:lvl1pPr>
          </a:lstStyle>
          <a:p>
            <a:pPr lvl="0"/>
            <a:r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1330833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llustration with Factoid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0A5685-ADC9-4197-AAEB-665323328B34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t>Asurion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C23BE928-69FE-1A4A-815A-A8E605AA498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34615" y="1041400"/>
            <a:ext cx="5157323" cy="484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5EE7C6A-85A2-5D4F-B0CF-D40F227A6FE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0063" y="2412005"/>
            <a:ext cx="5095874" cy="923330"/>
          </a:xfrm>
        </p:spPr>
        <p:txBody>
          <a:bodyPr wrap="square" lIns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6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t>Click to edi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6F3E38C-204B-FB48-A789-CED878B5326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0064" y="3388071"/>
            <a:ext cx="5095874" cy="1445421"/>
          </a:xfrm>
        </p:spPr>
        <p:txBody>
          <a:bodyPr lIns="0"/>
          <a:lstStyle>
            <a:lvl1pPr algn="l">
              <a:lnSpc>
                <a:spcPct val="100000"/>
              </a:lnSpc>
              <a:spcBef>
                <a:spcPts val="0"/>
              </a:spcBef>
              <a:defRPr sz="1800" b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3672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oid Split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33A7F6AC-2D36-EA4B-9F5B-00305F9EAB16}"/>
              </a:ext>
            </a:extLst>
          </p:cNvPr>
          <p:cNvSpPr/>
          <p:nvPr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D2E75D1-50C8-A44B-85EE-80C0B5736536}"/>
              </a:ext>
            </a:extLst>
          </p:cNvPr>
          <p:cNvSpPr/>
          <p:nvPr/>
        </p:nvSpPr>
        <p:spPr>
          <a:xfrm>
            <a:off x="6096000" y="0"/>
            <a:ext cx="6096000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32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DF938D9-FDBF-4E2E-9864-B9A3DEB81AA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t>Asurion Internal Use Only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3F92F295-8332-4AF1-945C-EF34A8F3D0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1AA52CFB-7227-B94E-A04F-5E3794B0F8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00064" y="2350522"/>
            <a:ext cx="5095874" cy="2254135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 b="0">
                <a:latin typeface="+mn-lt"/>
              </a:defRPr>
            </a:lvl1pPr>
          </a:lstStyle>
          <a:p>
            <a:pPr lvl="0"/>
            <a:r>
              <a:t>Click to edit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F5A3AB30-CF44-7248-A3D3-3F5409CF34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35700" y="1235904"/>
            <a:ext cx="2863693" cy="1231106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8000" b="0">
                <a:solidFill>
                  <a:schemeClr val="bg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703B6F5A-60F0-DC4B-A37F-01DBA21C5CB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3204" y="1415428"/>
            <a:ext cx="2458733" cy="837118"/>
          </a:xfrm>
        </p:spPr>
        <p:txBody>
          <a:bodyPr lIns="91440" anchor="ctr" anchorCtr="0"/>
          <a:lstStyle>
            <a:lvl1pPr algn="l">
              <a:lnSpc>
                <a:spcPct val="100000"/>
              </a:lnSpc>
              <a:spcBef>
                <a:spcPts val="0"/>
              </a:spcBef>
              <a:defRPr sz="14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t>Click to edi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956821E9-8772-804F-B6CD-FF23B856CA86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7667546" y="3801447"/>
            <a:ext cx="2937214" cy="2090868"/>
          </a:xfrm>
        </p:spPr>
        <p:txBody>
          <a:bodyPr/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25069576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ght Numbered F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22F74907-9901-41D8-B02E-D5156ACAC59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CD76F14-B7C1-4783-A9BB-4763BFA8875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1866E3A-7DEB-5C4E-8324-44DAFB7110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9032" y="2645919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2203A6C8-48F7-4D4E-AD85-EAA8F99930F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99034" y="2009049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54" name="Text Placeholder 10">
            <a:extLst>
              <a:ext uri="{FF2B5EF4-FFF2-40B4-BE49-F238E27FC236}">
                <a16:creationId xmlns:a16="http://schemas.microsoft.com/office/drawing/2014/main" id="{CF2CF0DB-CDB9-1C4A-8839-F41C532D5CB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03870" y="2009049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55" name="Text Placeholder 10">
            <a:extLst>
              <a:ext uri="{FF2B5EF4-FFF2-40B4-BE49-F238E27FC236}">
                <a16:creationId xmlns:a16="http://schemas.microsoft.com/office/drawing/2014/main" id="{AE28C0EB-3AAE-0047-9B43-726D44D9703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564953" y="2645919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B085BC16-2098-9147-A6CA-B4CD22B9ED7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64955" y="2009049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57" name="Text Placeholder 10">
            <a:extLst>
              <a:ext uri="{FF2B5EF4-FFF2-40B4-BE49-F238E27FC236}">
                <a16:creationId xmlns:a16="http://schemas.microsoft.com/office/drawing/2014/main" id="{9E61EAAA-A66E-D846-8EDA-9834B2616C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169791" y="2009049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288D383F-E969-DA4F-BE90-F15614FF248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355954" y="2643295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A40412F6-ABC2-824C-A321-7EB4158892A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55956" y="2006425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F8D29A9A-8DF4-7141-834D-BD93C48F105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960792" y="2006425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61" name="Text Placeholder 10">
            <a:extLst>
              <a:ext uri="{FF2B5EF4-FFF2-40B4-BE49-F238E27FC236}">
                <a16:creationId xmlns:a16="http://schemas.microsoft.com/office/drawing/2014/main" id="{843DE115-8C87-8344-8886-25A75BB8D9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087822" y="2645919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A7C507EF-6B56-8142-A1B5-703F7301FA5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087824" y="2009049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63" name="Text Placeholder 10">
            <a:extLst>
              <a:ext uri="{FF2B5EF4-FFF2-40B4-BE49-F238E27FC236}">
                <a16:creationId xmlns:a16="http://schemas.microsoft.com/office/drawing/2014/main" id="{047276DC-2172-434C-A123-1524D3E5DB8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692660" y="2009049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67" name="Text Placeholder 10">
            <a:extLst>
              <a:ext uri="{FF2B5EF4-FFF2-40B4-BE49-F238E27FC236}">
                <a16:creationId xmlns:a16="http://schemas.microsoft.com/office/drawing/2014/main" id="{CD273DAC-811D-1A48-B24F-1BEC6D6CAE3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99032" y="4578907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E22A3C03-E052-BE45-AB65-9153D3E5240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99034" y="3942037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69" name="Text Placeholder 10">
            <a:extLst>
              <a:ext uri="{FF2B5EF4-FFF2-40B4-BE49-F238E27FC236}">
                <a16:creationId xmlns:a16="http://schemas.microsoft.com/office/drawing/2014/main" id="{6D80D084-8BE0-AA45-9990-239C8C7054E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03870" y="3942037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70" name="Text Placeholder 10">
            <a:extLst>
              <a:ext uri="{FF2B5EF4-FFF2-40B4-BE49-F238E27FC236}">
                <a16:creationId xmlns:a16="http://schemas.microsoft.com/office/drawing/2014/main" id="{3D6EC247-3707-CF41-9AFF-46DCFF35B9C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564953" y="4578907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F712BE49-08EC-9644-BA42-E079E6F4B0A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564955" y="3942037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72" name="Text Placeholder 10">
            <a:extLst>
              <a:ext uri="{FF2B5EF4-FFF2-40B4-BE49-F238E27FC236}">
                <a16:creationId xmlns:a16="http://schemas.microsoft.com/office/drawing/2014/main" id="{BB6BD5CF-5783-3C4F-BF8D-B06E51A0EC61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169791" y="3942037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73" name="Text Placeholder 10">
            <a:extLst>
              <a:ext uri="{FF2B5EF4-FFF2-40B4-BE49-F238E27FC236}">
                <a16:creationId xmlns:a16="http://schemas.microsoft.com/office/drawing/2014/main" id="{89364852-4B67-BE4C-B32D-D6F4629D287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355954" y="4576283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EAB19194-3969-F64C-86BF-9B57D83CAF3B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355956" y="3939413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75" name="Text Placeholder 10">
            <a:extLst>
              <a:ext uri="{FF2B5EF4-FFF2-40B4-BE49-F238E27FC236}">
                <a16:creationId xmlns:a16="http://schemas.microsoft.com/office/drawing/2014/main" id="{49080CC3-7630-F140-9CF8-8794360A547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960792" y="3939413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76" name="Text Placeholder 10">
            <a:extLst>
              <a:ext uri="{FF2B5EF4-FFF2-40B4-BE49-F238E27FC236}">
                <a16:creationId xmlns:a16="http://schemas.microsoft.com/office/drawing/2014/main" id="{56852BAC-70A5-1D4E-BC18-FBEFD6D03BB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087822" y="4578907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259A7000-3C5E-BB43-A5AE-594FB6186AE2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087824" y="3942037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78" name="Text Placeholder 10">
            <a:extLst>
              <a:ext uri="{FF2B5EF4-FFF2-40B4-BE49-F238E27FC236}">
                <a16:creationId xmlns:a16="http://schemas.microsoft.com/office/drawing/2014/main" id="{771ABC88-66E2-FB42-807A-A13D16900BA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692660" y="3942037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</p:spTree>
    <p:extLst>
      <p:ext uri="{BB962C8B-B14F-4D97-AF65-F5344CB8AC3E}">
        <p14:creationId xmlns:p14="http://schemas.microsoft.com/office/powerpoint/2010/main" val="52987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ght Numbers Facts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2256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DF938D9-FDBF-4E2E-9864-B9A3DEB81AA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t>Asurion Internal Use Only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3F92F295-8332-4AF1-945C-EF34A8F3D0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B9A0D239-81E9-6647-BF62-476D7D0AE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9032" y="2645919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27B3718C-D3BC-0A4A-AB24-8E0527BD0BC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99034" y="2009049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EE3CF9FC-234B-B34A-AEED-DD9EA191F1E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03870" y="2009049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41D09DAB-1589-E34E-A510-555E37F2B14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564953" y="2645919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D0148C53-1352-2940-948D-748160CC579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64955" y="2009049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EBA9D11E-F868-C845-97E0-A54B829042E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169791" y="2009049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DAB052B3-0DA4-6A48-B41E-0E11CF17D0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355954" y="2643295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0FE77869-6ECC-DB4F-A3D0-18767E1BEBA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55956" y="2006425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2A7BAE2-7988-A84E-8577-17742D7D868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960792" y="2006425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1F637BFE-09A3-5441-9BA3-60AADA8A56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087822" y="2645919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FD3EC017-1E80-954A-BD2B-A8224CCBFE9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087824" y="2009049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D4AD2563-C182-174B-A94A-E5EA2C0B9741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692660" y="2009049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45AFD8F7-BBCE-974E-9799-7F97EABB126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99032" y="4578907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1049030-51FD-9B4C-9370-6D16E702C04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99034" y="3942037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10CB1AC8-5D47-6444-B4F6-244A3485DB9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03870" y="3942037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9E51DDB3-2697-2045-9C29-713A45B2EA1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564953" y="4578907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930A8F0C-8538-1A4C-9D42-4C76264FD4C2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564955" y="3942037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D281AB27-A235-4A44-B0D5-04A4A1D6662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169791" y="3942037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5B1D1191-6A82-3442-A392-EE6ED5417C2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355954" y="4576283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DA310A7C-745E-2C46-BF2C-CAE702280EDB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355956" y="3939413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A529FFF3-211A-4649-B80F-7080F4EF342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960792" y="3939413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89F1FE9B-2E3B-7046-88A0-6C5E57B9097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087822" y="4578907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B03A7643-78B5-2B4D-AD2C-2D9A2B1E603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087824" y="3942037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204CA410-10E1-0146-87AE-21BDA4ACECB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692660" y="3942037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</p:spTree>
    <p:extLst>
      <p:ext uri="{BB962C8B-B14F-4D97-AF65-F5344CB8AC3E}">
        <p14:creationId xmlns:p14="http://schemas.microsoft.com/office/powerpoint/2010/main" val="24548458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EA01E96-DFCE-8A47-95E4-C17CB5B7677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C4D158-65DE-0842-BD47-216B25C04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063" y="440482"/>
            <a:ext cx="4636713" cy="2800259"/>
          </a:xfrm>
        </p:spPr>
        <p:txBody>
          <a:bodyPr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A02E6C-722C-7048-BD48-797E23EE61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surion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15BA52-1787-734E-AF70-5A45B094194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3ACAB3-CA36-4966-8A1D-076772D39D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514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, Conten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0A5685-ADC9-4197-AAEB-665323328B34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5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3689"/>
            <a:ext cx="5056675" cy="3329423"/>
          </a:xfrm>
        </p:spPr>
        <p:txBody>
          <a:bodyPr spcCol="540000"/>
          <a:lstStyle>
            <a:lvl2pPr>
              <a:spcBef>
                <a:spcPts val="300"/>
              </a:spcBef>
              <a:defRPr/>
            </a:lvl2pPr>
            <a:lvl3pPr>
              <a:spcBef>
                <a:spcPts val="6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639103-1054-48CB-9C4A-BC221A9D489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0063" y="1481655"/>
            <a:ext cx="5056675" cy="78676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275A3245-01FF-42DD-A6D1-85D456773FFD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499225" y="1041400"/>
            <a:ext cx="5192713" cy="4849813"/>
          </a:xfrm>
        </p:spPr>
        <p:txBody>
          <a:bodyPr/>
          <a:lstStyle/>
          <a:p>
            <a:r>
              <a:rPr lang="en-US"/>
              <a:t>Click icon to add chart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14989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Header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35141" y="446743"/>
            <a:ext cx="3778097" cy="269035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 lang="en-US"/>
            </a:br>
            <a:r>
              <a:t>style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91600" y="6477425"/>
            <a:ext cx="1952422" cy="180000"/>
          </a:xfrm>
        </p:spPr>
        <p:txBody>
          <a:bodyPr/>
          <a:lstStyle/>
          <a:p>
            <a:r>
              <a:t>Asurion Internal Use Only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0A8629D5-1353-B143-9D56-3314F8FA1E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2624" y="3436642"/>
            <a:ext cx="3773609" cy="245271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1967057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35141" y="446743"/>
            <a:ext cx="3778097" cy="269035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 lang="en-US"/>
            </a:br>
            <a:r>
              <a:t>style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91600" y="6477425"/>
            <a:ext cx="1952422" cy="180000"/>
          </a:xfrm>
        </p:spPr>
        <p:txBody>
          <a:bodyPr/>
          <a:lstStyle/>
          <a:p>
            <a:r>
              <a:t>Asurion Internal Use Only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0A8629D5-1353-B143-9D56-3314F8FA1E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2624" y="3436642"/>
            <a:ext cx="3773609" cy="245271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3556098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 5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35141" y="446743"/>
            <a:ext cx="3778097" cy="269035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/>
            </a:br>
            <a:r>
              <a:t>style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91600" y="6477425"/>
            <a:ext cx="1952422" cy="180000"/>
          </a:xfrm>
        </p:spPr>
        <p:txBody>
          <a:bodyPr/>
          <a:lstStyle/>
          <a:p>
            <a:r>
              <a:t>Asurion Internal Use Only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2825" y="6477425"/>
            <a:ext cx="519112" cy="180000"/>
          </a:xfrm>
        </p:spPr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468D2047-5D6F-7C41-984A-AC9DD6F37A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2624" y="3436642"/>
            <a:ext cx="3773609" cy="245271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6106173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0DFA8-C5FE-DB44-9BF9-1274EAD5637C}" type="slidenum">
              <a:rPr/>
              <a:t>‹#›</a:t>
            </a:fld>
            <a:endParaRPr/>
          </a:p>
        </p:txBody>
      </p:sp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sz="11500" b="0" i="0" spc="100">
                <a:solidFill>
                  <a:srgbClr val="FFFFFF"/>
                </a:solidFill>
                <a:latin typeface="+mj-lt"/>
              </a:rPr>
              <a:t>END SLID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0C9D3A-9A1A-C140-B0F7-9A8C63C4D4BD}"/>
              </a:ext>
            </a:extLst>
          </p:cNvPr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sz="1100" b="0" i="0" kern="1200">
                <a:solidFill>
                  <a:schemeClr val="bg1">
                    <a:lumMod val="85000"/>
                  </a:schemeClr>
                </a:solidFill>
                <a:effectLst/>
                <a:latin typeface="+mn-lt"/>
                <a:ea typeface="+mn-ea"/>
                <a:cs typeface="+mn-cs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74022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with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D744DE2C-A424-4827-A247-97648814534C}"/>
              </a:ext>
            </a:extLst>
          </p:cNvPr>
          <p:cNvSpPr/>
          <p:nvPr/>
        </p:nvSpPr>
        <p:spPr>
          <a:xfrm>
            <a:off x="6095747" y="0"/>
            <a:ext cx="609625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4F442-ECB4-4EA4-AE95-53D8E965A64C}"/>
              </a:ext>
            </a:extLst>
          </p:cNvPr>
          <p:cNvSpPr/>
          <p:nvPr/>
        </p:nvSpPr>
        <p:spPr>
          <a:xfrm>
            <a:off x="0" y="0"/>
            <a:ext cx="6096000" cy="55839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5939" y="1983105"/>
            <a:ext cx="5454650" cy="184023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6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Type text here</a:t>
            </a:r>
          </a:p>
        </p:txBody>
      </p:sp>
      <p:grpSp>
        <p:nvGrpSpPr>
          <p:cNvPr id="15" name="asurion logo">
            <a:extLst>
              <a:ext uri="{FF2B5EF4-FFF2-40B4-BE49-F238E27FC236}">
                <a16:creationId xmlns:a16="http://schemas.microsoft.com/office/drawing/2014/main" id="{742C3EE8-5E66-4064-AD77-262ED2AF10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0" y="5995713"/>
            <a:ext cx="1527969" cy="354615"/>
            <a:chOff x="316" y="3952"/>
            <a:chExt cx="586" cy="136"/>
          </a:xfrm>
          <a:solidFill>
            <a:schemeClr val="tx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9EF3FF97-F9E4-4229-93B3-D336E320D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9D763D80-7D31-4C23-92B5-7AA5C7093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D0697A47-C99B-4053-ADFB-D711F85AE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B1BCB078-E3E2-4D42-8199-4874325579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961A3D60-6C30-4644-91DF-BEEC5109B1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F348E325-407C-441C-B197-E60FC5A68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9F368039-5BAA-412B-A0CF-A7E83F9606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13DAD560-03AB-9E4E-8F93-C72CEA1F86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3791" y="1048609"/>
            <a:ext cx="4957148" cy="5015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0889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5939" y="2245995"/>
            <a:ext cx="5454650" cy="184023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6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Type text here</a:t>
            </a:r>
          </a:p>
        </p:txBody>
      </p:sp>
      <p:grpSp>
        <p:nvGrpSpPr>
          <p:cNvPr id="15" name="asurion logo">
            <a:extLst>
              <a:ext uri="{FF2B5EF4-FFF2-40B4-BE49-F238E27FC236}">
                <a16:creationId xmlns:a16="http://schemas.microsoft.com/office/drawing/2014/main" id="{742C3EE8-5E66-4064-AD77-262ED2AF10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0" y="5995713"/>
            <a:ext cx="1527969" cy="354615"/>
            <a:chOff x="316" y="3952"/>
            <a:chExt cx="586" cy="136"/>
          </a:xfrm>
          <a:solidFill>
            <a:schemeClr val="tx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9EF3FF97-F9E4-4229-93B3-D336E320D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9D763D80-7D31-4C23-92B5-7AA5C7093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D0697A47-C99B-4053-ADFB-D711F85AE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B1BCB078-E3E2-4D42-8199-4874325579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961A3D60-6C30-4644-91DF-BEEC5109B1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F348E325-407C-441C-B197-E60FC5A68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9F368039-5BAA-412B-A0CF-A7E83F9606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2642844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of Layou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0DFA8-C5FE-DB44-9BF9-1274EAD5637C}" type="slidenum">
              <a:rPr/>
              <a:t>‹#›</a:t>
            </a:fld>
            <a:endParaRPr/>
          </a:p>
        </p:txBody>
      </p:sp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sz="11500" b="0" i="0" spc="100">
                <a:solidFill>
                  <a:srgbClr val="FFFFFF"/>
                </a:solidFill>
                <a:latin typeface="+mj-lt"/>
              </a:rPr>
              <a:t>DO NOT USE </a:t>
            </a:r>
            <a:br>
              <a:rPr sz="11500" b="0" i="0" spc="100">
                <a:solidFill>
                  <a:srgbClr val="FFFFFF"/>
                </a:solidFill>
                <a:latin typeface="+mj-lt"/>
              </a:rPr>
            </a:br>
            <a:r>
              <a:rPr sz="11500" b="0" i="0" spc="100">
                <a:solidFill>
                  <a:srgbClr val="FFFFFF"/>
                </a:solidFill>
                <a:latin typeface="+mj-lt"/>
              </a:rPr>
              <a:t>ANY</a:t>
            </a:r>
            <a:r>
              <a:rPr sz="11500" b="0" i="0" spc="100" baseline="0">
                <a:solidFill>
                  <a:srgbClr val="FFFFFF"/>
                </a:solidFill>
                <a:latin typeface="+mj-lt"/>
              </a:rPr>
              <a:t> LAYOUTS </a:t>
            </a:r>
            <a:br>
              <a:rPr sz="11500" b="0" i="0" spc="100" baseline="0">
                <a:solidFill>
                  <a:srgbClr val="FFFFFF"/>
                </a:solidFill>
                <a:latin typeface="+mj-lt"/>
              </a:rPr>
            </a:br>
            <a:r>
              <a:rPr sz="11500" b="0" i="0" spc="100" baseline="0">
                <a:solidFill>
                  <a:srgbClr val="FFFFFF"/>
                </a:solidFill>
                <a:latin typeface="+mj-lt"/>
              </a:rPr>
              <a:t>PAST THIS POINT</a:t>
            </a:r>
            <a:endParaRPr sz="11500" b="0" i="0" spc="10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0C9D3A-9A1A-C140-B0F7-9A8C63C4D4BD}"/>
              </a:ext>
            </a:extLst>
          </p:cNvPr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sz="1100" b="0" i="0" kern="1200">
                <a:solidFill>
                  <a:schemeClr val="bg1">
                    <a:lumMod val="85000"/>
                  </a:schemeClr>
                </a:solidFill>
                <a:effectLst/>
                <a:latin typeface="+mn-lt"/>
                <a:ea typeface="+mn-ea"/>
                <a:cs typeface="+mn-cs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61985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Agenda, Section Layouts" preserve="1">
  <p:cSld name="Title, Agenda, Section Layouts">
    <p:bg>
      <p:bgPr>
        <a:solidFill>
          <a:schemeClr val="dk1"/>
        </a:solidFill>
        <a:effectLst/>
      </p:bgPr>
    </p:bg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11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11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9" name="Google Shape;49;p11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500" b="0" i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TITLE, AGENDA, &amp; SECTION LAYOUTS</a:t>
            </a:r>
            <a:endParaRPr/>
          </a:p>
        </p:txBody>
      </p:sp>
      <p:sp>
        <p:nvSpPr>
          <p:cNvPr id="50" name="Google Shape;50;p11"/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6101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2" preserve="1">
  <p:cSld name="Title Slide 2">
    <p:bg>
      <p:bgPr>
        <a:solidFill>
          <a:schemeClr val="lt1"/>
        </a:solidFill>
        <a:effectLst/>
      </p:bgPr>
    </p:bg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12"/>
          <p:cNvSpPr/>
          <p:nvPr/>
        </p:nvSpPr>
        <p:spPr>
          <a:xfrm>
            <a:off x="0" y="5598000"/>
            <a:ext cx="6096000" cy="1260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" name="Google Shape;53;p12"/>
          <p:cNvSpPr txBox="1">
            <a:spLocks noGrp="1"/>
          </p:cNvSpPr>
          <p:nvPr>
            <p:ph type="ctrTitle"/>
          </p:nvPr>
        </p:nvSpPr>
        <p:spPr>
          <a:xfrm>
            <a:off x="515939" y="140677"/>
            <a:ext cx="5454650" cy="24536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Calibri"/>
              <a:buNone/>
              <a:defRPr sz="5200" b="0" i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4" name="Google Shape;54;p12"/>
          <p:cNvSpPr txBox="1">
            <a:spLocks noGrp="1"/>
          </p:cNvSpPr>
          <p:nvPr>
            <p:ph type="subTitle" idx="1"/>
          </p:nvPr>
        </p:nvSpPr>
        <p:spPr>
          <a:xfrm>
            <a:off x="515938" y="3022209"/>
            <a:ext cx="4086542" cy="20105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55" name="Google Shape;55;p12"/>
          <p:cNvGrpSpPr/>
          <p:nvPr/>
        </p:nvGrpSpPr>
        <p:grpSpPr>
          <a:xfrm>
            <a:off x="504030" y="5995713"/>
            <a:ext cx="1527969" cy="354615"/>
            <a:chOff x="316" y="3952"/>
            <a:chExt cx="586" cy="136"/>
          </a:xfrm>
        </p:grpSpPr>
        <p:sp>
          <p:nvSpPr>
            <p:cNvPr id="56" name="Google Shape;56;p12"/>
            <p:cNvSpPr/>
            <p:nvPr/>
          </p:nvSpPr>
          <p:spPr>
            <a:xfrm>
              <a:off x="428" y="3990"/>
              <a:ext cx="66" cy="98"/>
            </a:xfrm>
            <a:custGeom>
              <a:avLst/>
              <a:gdLst/>
              <a:ahLst/>
              <a:cxnLst/>
              <a:rect l="l" t="t" r="r" b="b"/>
              <a:pathLst>
                <a:path w="2176" h="3230" extrusionOk="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57;p12"/>
            <p:cNvSpPr/>
            <p:nvPr/>
          </p:nvSpPr>
          <p:spPr>
            <a:xfrm>
              <a:off x="505" y="3991"/>
              <a:ext cx="85" cy="97"/>
            </a:xfrm>
            <a:custGeom>
              <a:avLst/>
              <a:gdLst/>
              <a:ahLst/>
              <a:cxnLst/>
              <a:rect l="l" t="t" r="r" b="b"/>
              <a:pathLst>
                <a:path w="2769" h="3192" extrusionOk="0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58;p12"/>
            <p:cNvSpPr/>
            <p:nvPr/>
          </p:nvSpPr>
          <p:spPr>
            <a:xfrm>
              <a:off x="608" y="3990"/>
              <a:ext cx="46" cy="97"/>
            </a:xfrm>
            <a:custGeom>
              <a:avLst/>
              <a:gdLst/>
              <a:ahLst/>
              <a:cxnLst/>
              <a:rect l="l" t="t" r="r" b="b"/>
              <a:pathLst>
                <a:path w="1508" h="3192" extrusionOk="0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59;p12"/>
            <p:cNvSpPr/>
            <p:nvPr/>
          </p:nvSpPr>
          <p:spPr>
            <a:xfrm>
              <a:off x="664" y="3952"/>
              <a:ext cx="28" cy="135"/>
            </a:xfrm>
            <a:custGeom>
              <a:avLst/>
              <a:gdLst/>
              <a:ahLst/>
              <a:cxnLst/>
              <a:rect l="l" t="t" r="r" b="b"/>
              <a:pathLst>
                <a:path w="934" h="4454" extrusionOk="0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60;p12"/>
            <p:cNvSpPr/>
            <p:nvPr/>
          </p:nvSpPr>
          <p:spPr>
            <a:xfrm>
              <a:off x="702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1" h="3230" extrusionOk="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61;p12"/>
            <p:cNvSpPr/>
            <p:nvPr/>
          </p:nvSpPr>
          <p:spPr>
            <a:xfrm>
              <a:off x="814" y="3990"/>
              <a:ext cx="88" cy="97"/>
            </a:xfrm>
            <a:custGeom>
              <a:avLst/>
              <a:gdLst/>
              <a:ahLst/>
              <a:cxnLst/>
              <a:rect l="l" t="t" r="r" b="b"/>
              <a:pathLst>
                <a:path w="2893" h="3211" extrusionOk="0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62;p12"/>
            <p:cNvSpPr/>
            <p:nvPr/>
          </p:nvSpPr>
          <p:spPr>
            <a:xfrm>
              <a:off x="316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0" h="3230" extrusionOk="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3" name="Google Shape;63;p12"/>
          <p:cNvSpPr txBox="1">
            <a:spLocks noGrp="1"/>
          </p:cNvSpPr>
          <p:nvPr>
            <p:ph type="body" idx="2"/>
          </p:nvPr>
        </p:nvSpPr>
        <p:spPr>
          <a:xfrm>
            <a:off x="6599238" y="6012655"/>
            <a:ext cx="3435350" cy="531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 b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 sz="1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175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 sz="1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 sz="1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4" name="Google Shape;64;p12"/>
          <p:cNvSpPr txBox="1">
            <a:spLocks noGrp="1"/>
          </p:cNvSpPr>
          <p:nvPr>
            <p:ph type="body" idx="3"/>
          </p:nvPr>
        </p:nvSpPr>
        <p:spPr>
          <a:xfrm>
            <a:off x="10160000" y="6012655"/>
            <a:ext cx="1534575" cy="531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 b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 sz="1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175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 sz="1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 sz="1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Google Shape;65;p12"/>
          <p:cNvSpPr>
            <a:spLocks noGrp="1"/>
          </p:cNvSpPr>
          <p:nvPr>
            <p:ph type="pic" idx="4"/>
          </p:nvPr>
        </p:nvSpPr>
        <p:spPr>
          <a:xfrm>
            <a:off x="6094095" y="0"/>
            <a:ext cx="6099048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775156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4" preserve="1">
  <p:cSld name="Title Slide 4">
    <p:bg>
      <p:bgPr>
        <a:solidFill>
          <a:schemeClr val="lt1"/>
        </a:solidFill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14"/>
          <p:cNvSpPr>
            <a:spLocks noGrp="1"/>
          </p:cNvSpPr>
          <p:nvPr>
            <p:ph type="pic" idx="2"/>
          </p:nvPr>
        </p:nvSpPr>
        <p:spPr>
          <a:xfrm>
            <a:off x="1524" y="0"/>
            <a:ext cx="12188952" cy="55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3" name="Google Shape;83;p14"/>
          <p:cNvSpPr/>
          <p:nvPr/>
        </p:nvSpPr>
        <p:spPr>
          <a:xfrm>
            <a:off x="0" y="5598000"/>
            <a:ext cx="6096000" cy="1260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" name="Google Shape;84;p14"/>
          <p:cNvSpPr/>
          <p:nvPr/>
        </p:nvSpPr>
        <p:spPr>
          <a:xfrm>
            <a:off x="6096000" y="5598000"/>
            <a:ext cx="6096000" cy="12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" name="Google Shape;85;p14"/>
          <p:cNvSpPr txBox="1">
            <a:spLocks noGrp="1"/>
          </p:cNvSpPr>
          <p:nvPr>
            <p:ph type="ctrTitle"/>
          </p:nvPr>
        </p:nvSpPr>
        <p:spPr>
          <a:xfrm>
            <a:off x="515939" y="140677"/>
            <a:ext cx="5454650" cy="24536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Calibri"/>
              <a:buNone/>
              <a:defRPr sz="5200" b="0" i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86" name="Google Shape;86;p14"/>
          <p:cNvSpPr txBox="1">
            <a:spLocks noGrp="1"/>
          </p:cNvSpPr>
          <p:nvPr>
            <p:ph type="subTitle" idx="1"/>
          </p:nvPr>
        </p:nvSpPr>
        <p:spPr>
          <a:xfrm>
            <a:off x="515938" y="3022209"/>
            <a:ext cx="4086542" cy="20105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87" name="Google Shape;87;p14"/>
          <p:cNvGrpSpPr/>
          <p:nvPr/>
        </p:nvGrpSpPr>
        <p:grpSpPr>
          <a:xfrm>
            <a:off x="504030" y="5995713"/>
            <a:ext cx="1527969" cy="354615"/>
            <a:chOff x="316" y="3952"/>
            <a:chExt cx="586" cy="136"/>
          </a:xfrm>
        </p:grpSpPr>
        <p:sp>
          <p:nvSpPr>
            <p:cNvPr id="88" name="Google Shape;88;p14"/>
            <p:cNvSpPr/>
            <p:nvPr/>
          </p:nvSpPr>
          <p:spPr>
            <a:xfrm>
              <a:off x="428" y="3990"/>
              <a:ext cx="66" cy="98"/>
            </a:xfrm>
            <a:custGeom>
              <a:avLst/>
              <a:gdLst/>
              <a:ahLst/>
              <a:cxnLst/>
              <a:rect l="l" t="t" r="r" b="b"/>
              <a:pathLst>
                <a:path w="2176" h="3230" extrusionOk="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" name="Google Shape;89;p14"/>
            <p:cNvSpPr/>
            <p:nvPr/>
          </p:nvSpPr>
          <p:spPr>
            <a:xfrm>
              <a:off x="505" y="3991"/>
              <a:ext cx="85" cy="97"/>
            </a:xfrm>
            <a:custGeom>
              <a:avLst/>
              <a:gdLst/>
              <a:ahLst/>
              <a:cxnLst/>
              <a:rect l="l" t="t" r="r" b="b"/>
              <a:pathLst>
                <a:path w="2769" h="3192" extrusionOk="0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" name="Google Shape;90;p14"/>
            <p:cNvSpPr/>
            <p:nvPr/>
          </p:nvSpPr>
          <p:spPr>
            <a:xfrm>
              <a:off x="608" y="3990"/>
              <a:ext cx="46" cy="97"/>
            </a:xfrm>
            <a:custGeom>
              <a:avLst/>
              <a:gdLst/>
              <a:ahLst/>
              <a:cxnLst/>
              <a:rect l="l" t="t" r="r" b="b"/>
              <a:pathLst>
                <a:path w="1508" h="3192" extrusionOk="0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14"/>
            <p:cNvSpPr/>
            <p:nvPr/>
          </p:nvSpPr>
          <p:spPr>
            <a:xfrm>
              <a:off x="664" y="3952"/>
              <a:ext cx="28" cy="135"/>
            </a:xfrm>
            <a:custGeom>
              <a:avLst/>
              <a:gdLst/>
              <a:ahLst/>
              <a:cxnLst/>
              <a:rect l="l" t="t" r="r" b="b"/>
              <a:pathLst>
                <a:path w="934" h="4454" extrusionOk="0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" name="Google Shape;92;p14"/>
            <p:cNvSpPr/>
            <p:nvPr/>
          </p:nvSpPr>
          <p:spPr>
            <a:xfrm>
              <a:off x="702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1" h="3230" extrusionOk="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" name="Google Shape;93;p14"/>
            <p:cNvSpPr/>
            <p:nvPr/>
          </p:nvSpPr>
          <p:spPr>
            <a:xfrm>
              <a:off x="814" y="3990"/>
              <a:ext cx="88" cy="97"/>
            </a:xfrm>
            <a:custGeom>
              <a:avLst/>
              <a:gdLst/>
              <a:ahLst/>
              <a:cxnLst/>
              <a:rect l="l" t="t" r="r" b="b"/>
              <a:pathLst>
                <a:path w="2893" h="3211" extrusionOk="0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94;p14"/>
            <p:cNvSpPr/>
            <p:nvPr/>
          </p:nvSpPr>
          <p:spPr>
            <a:xfrm>
              <a:off x="316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0" h="3230" extrusionOk="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5" name="Google Shape;95;p14"/>
          <p:cNvSpPr txBox="1">
            <a:spLocks noGrp="1"/>
          </p:cNvSpPr>
          <p:nvPr>
            <p:ph type="body" idx="3"/>
          </p:nvPr>
        </p:nvSpPr>
        <p:spPr>
          <a:xfrm>
            <a:off x="6599238" y="6012655"/>
            <a:ext cx="3435350" cy="531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 b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 sz="1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175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 sz="1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 sz="1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6" name="Google Shape;96;p14"/>
          <p:cNvSpPr txBox="1">
            <a:spLocks noGrp="1"/>
          </p:cNvSpPr>
          <p:nvPr>
            <p:ph type="body" idx="4"/>
          </p:nvPr>
        </p:nvSpPr>
        <p:spPr>
          <a:xfrm>
            <a:off x="10160000" y="6012655"/>
            <a:ext cx="1534575" cy="531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 b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 sz="1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175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 sz="1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 sz="1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6024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, Content and Char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0A5685-ADC9-4197-AAEB-665323328B34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3689"/>
            <a:ext cx="5056675" cy="3329423"/>
          </a:xfrm>
        </p:spPr>
        <p:txBody>
          <a:bodyPr numCol="1" spcCol="540000"/>
          <a:lstStyle>
            <a:lvl2pPr>
              <a:spcBef>
                <a:spcPts val="300"/>
              </a:spcBef>
              <a:defRPr/>
            </a:lvl2pPr>
            <a:lvl3pPr>
              <a:spcBef>
                <a:spcPts val="6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639103-1054-48CB-9C4A-BC221A9D489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0063" y="1481655"/>
            <a:ext cx="5056675" cy="78676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275A3245-01FF-42DD-A6D1-85D456773FFD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499225" y="1041400"/>
            <a:ext cx="5192713" cy="484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697978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 2" preserve="1">
  <p:cSld name="Agenda 2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16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9" name="Google Shape;109;p16"/>
          <p:cNvSpPr txBox="1">
            <a:spLocks noGrp="1"/>
          </p:cNvSpPr>
          <p:nvPr>
            <p:ph type="body" idx="1"/>
          </p:nvPr>
        </p:nvSpPr>
        <p:spPr>
          <a:xfrm>
            <a:off x="500063" y="2007754"/>
            <a:ext cx="11191875" cy="39301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SzPts val="2400"/>
              <a:buNone/>
              <a:defRPr sz="2400"/>
            </a:lvl2pPr>
            <a:lvl3pPr marL="1371600" lvl="2" indent="-3810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0" name="Google Shape;110;p16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" name="Google Shape;111;p16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1pPr>
            <a:lvl2pPr marL="0" lvl="1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2pPr>
            <a:lvl3pPr marL="0" lvl="2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3pPr>
            <a:lvl4pPr marL="0" lvl="3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4pPr>
            <a:lvl5pPr marL="0" lvl="4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5pPr>
            <a:lvl6pPr marL="0" lvl="5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6pPr>
            <a:lvl7pPr marL="0" lvl="6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7pPr>
            <a:lvl8pPr marL="0" lvl="7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8pPr>
            <a:lvl9pPr marL="0" lvl="8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68402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1" preserve="1">
  <p:cSld name="Section Header 1">
    <p:bg>
      <p:bgPr>
        <a:solidFill>
          <a:schemeClr val="lt1"/>
        </a:solidFill>
        <a:effectLst/>
      </p:bgPr>
    </p:bg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18"/>
          <p:cNvSpPr/>
          <p:nvPr/>
        </p:nvSpPr>
        <p:spPr>
          <a:xfrm>
            <a:off x="0" y="0"/>
            <a:ext cx="2286000" cy="178117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" name="Google Shape;119;p18"/>
          <p:cNvSpPr/>
          <p:nvPr/>
        </p:nvSpPr>
        <p:spPr>
          <a:xfrm>
            <a:off x="0" y="1781175"/>
            <a:ext cx="2286000" cy="5076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" name="Google Shape;120;p18"/>
          <p:cNvSpPr txBox="1">
            <a:spLocks noGrp="1"/>
          </p:cNvSpPr>
          <p:nvPr>
            <p:ph type="ctrTitle"/>
          </p:nvPr>
        </p:nvSpPr>
        <p:spPr>
          <a:xfrm>
            <a:off x="2781574" y="446744"/>
            <a:ext cx="6298925" cy="21475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21" name="Google Shape;121;p18"/>
          <p:cNvSpPr txBox="1">
            <a:spLocks noGrp="1"/>
          </p:cNvSpPr>
          <p:nvPr>
            <p:ph type="subTitle" idx="1"/>
          </p:nvPr>
        </p:nvSpPr>
        <p:spPr>
          <a:xfrm>
            <a:off x="2789057" y="2762591"/>
            <a:ext cx="6291442" cy="674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1500" b="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2" name="Google Shape;122;p18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" name="Google Shape;123;p18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4" name="Google Shape;124;p18"/>
          <p:cNvSpPr txBox="1">
            <a:spLocks noGrp="1"/>
          </p:cNvSpPr>
          <p:nvPr>
            <p:ph type="body" idx="2"/>
          </p:nvPr>
        </p:nvSpPr>
        <p:spPr>
          <a:xfrm>
            <a:off x="182879" y="273607"/>
            <a:ext cx="1944810" cy="14285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80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25" name="Google Shape;125;p18"/>
          <p:cNvGrpSpPr/>
          <p:nvPr/>
        </p:nvGrpSpPr>
        <p:grpSpPr>
          <a:xfrm>
            <a:off x="504031" y="6390186"/>
            <a:ext cx="918000" cy="213052"/>
            <a:chOff x="316" y="3952"/>
            <a:chExt cx="586" cy="136"/>
          </a:xfrm>
        </p:grpSpPr>
        <p:sp>
          <p:nvSpPr>
            <p:cNvPr id="126" name="Google Shape;126;p18"/>
            <p:cNvSpPr/>
            <p:nvPr/>
          </p:nvSpPr>
          <p:spPr>
            <a:xfrm>
              <a:off x="428" y="3990"/>
              <a:ext cx="66" cy="98"/>
            </a:xfrm>
            <a:custGeom>
              <a:avLst/>
              <a:gdLst/>
              <a:ahLst/>
              <a:cxnLst/>
              <a:rect l="l" t="t" r="r" b="b"/>
              <a:pathLst>
                <a:path w="2176" h="3230" extrusionOk="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127;p18"/>
            <p:cNvSpPr/>
            <p:nvPr/>
          </p:nvSpPr>
          <p:spPr>
            <a:xfrm>
              <a:off x="505" y="3991"/>
              <a:ext cx="85" cy="97"/>
            </a:xfrm>
            <a:custGeom>
              <a:avLst/>
              <a:gdLst/>
              <a:ahLst/>
              <a:cxnLst/>
              <a:rect l="l" t="t" r="r" b="b"/>
              <a:pathLst>
                <a:path w="2769" h="3192" extrusionOk="0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128;p18"/>
            <p:cNvSpPr/>
            <p:nvPr/>
          </p:nvSpPr>
          <p:spPr>
            <a:xfrm>
              <a:off x="608" y="3990"/>
              <a:ext cx="46" cy="97"/>
            </a:xfrm>
            <a:custGeom>
              <a:avLst/>
              <a:gdLst/>
              <a:ahLst/>
              <a:cxnLst/>
              <a:rect l="l" t="t" r="r" b="b"/>
              <a:pathLst>
                <a:path w="1508" h="3192" extrusionOk="0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129;p18"/>
            <p:cNvSpPr/>
            <p:nvPr/>
          </p:nvSpPr>
          <p:spPr>
            <a:xfrm>
              <a:off x="664" y="3952"/>
              <a:ext cx="28" cy="135"/>
            </a:xfrm>
            <a:custGeom>
              <a:avLst/>
              <a:gdLst/>
              <a:ahLst/>
              <a:cxnLst/>
              <a:rect l="l" t="t" r="r" b="b"/>
              <a:pathLst>
                <a:path w="934" h="4454" extrusionOk="0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130;p18"/>
            <p:cNvSpPr/>
            <p:nvPr/>
          </p:nvSpPr>
          <p:spPr>
            <a:xfrm>
              <a:off x="702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1" h="3230" extrusionOk="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131;p18"/>
            <p:cNvSpPr/>
            <p:nvPr/>
          </p:nvSpPr>
          <p:spPr>
            <a:xfrm>
              <a:off x="814" y="3990"/>
              <a:ext cx="88" cy="97"/>
            </a:xfrm>
            <a:custGeom>
              <a:avLst/>
              <a:gdLst/>
              <a:ahLst/>
              <a:cxnLst/>
              <a:rect l="l" t="t" r="r" b="b"/>
              <a:pathLst>
                <a:path w="2893" h="3211" extrusionOk="0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132;p18"/>
            <p:cNvSpPr/>
            <p:nvPr/>
          </p:nvSpPr>
          <p:spPr>
            <a:xfrm>
              <a:off x="316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0" h="3230" extrusionOk="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53864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2" preserve="1">
  <p:cSld name="Section Header 2">
    <p:bg>
      <p:bgPr>
        <a:solidFill>
          <a:schemeClr val="dk1"/>
        </a:solidFill>
        <a:effectLst/>
      </p:bgPr>
    </p:bg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19"/>
          <p:cNvSpPr/>
          <p:nvPr/>
        </p:nvSpPr>
        <p:spPr>
          <a:xfrm>
            <a:off x="0" y="0"/>
            <a:ext cx="2286000" cy="1781175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" name="Google Shape;135;p19"/>
          <p:cNvSpPr/>
          <p:nvPr/>
        </p:nvSpPr>
        <p:spPr>
          <a:xfrm>
            <a:off x="0" y="1781175"/>
            <a:ext cx="2286000" cy="50768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" name="Google Shape;136;p19"/>
          <p:cNvSpPr txBox="1">
            <a:spLocks noGrp="1"/>
          </p:cNvSpPr>
          <p:nvPr>
            <p:ph type="ctrTitle"/>
          </p:nvPr>
        </p:nvSpPr>
        <p:spPr>
          <a:xfrm>
            <a:off x="2781574" y="446744"/>
            <a:ext cx="6298925" cy="21475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Calibri"/>
              <a:buNone/>
              <a:defRPr sz="4400" b="0" i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37" name="Google Shape;137;p19"/>
          <p:cNvSpPr txBox="1">
            <a:spLocks noGrp="1"/>
          </p:cNvSpPr>
          <p:nvPr>
            <p:ph type="subTitle" idx="1"/>
          </p:nvPr>
        </p:nvSpPr>
        <p:spPr>
          <a:xfrm>
            <a:off x="2789057" y="2762591"/>
            <a:ext cx="6291442" cy="674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 sz="1500" b="0">
                <a:solidFill>
                  <a:schemeClr val="lt1"/>
                </a:solidFill>
              </a:defRPr>
            </a:lvl1pPr>
            <a:lvl2pPr lvl="1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38" name="Google Shape;138;p19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" name="Google Shape;139;p19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0" name="Google Shape;140;p19"/>
          <p:cNvSpPr txBox="1">
            <a:spLocks noGrp="1"/>
          </p:cNvSpPr>
          <p:nvPr>
            <p:ph type="body" idx="2"/>
          </p:nvPr>
        </p:nvSpPr>
        <p:spPr>
          <a:xfrm>
            <a:off x="182879" y="273607"/>
            <a:ext cx="1944810" cy="14285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0"/>
              <a:buNone/>
              <a:defRPr sz="80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41" name="Google Shape;141;p19"/>
          <p:cNvGrpSpPr/>
          <p:nvPr/>
        </p:nvGrpSpPr>
        <p:grpSpPr>
          <a:xfrm>
            <a:off x="504031" y="6390186"/>
            <a:ext cx="918000" cy="213052"/>
            <a:chOff x="316" y="3952"/>
            <a:chExt cx="586" cy="136"/>
          </a:xfrm>
        </p:grpSpPr>
        <p:sp>
          <p:nvSpPr>
            <p:cNvPr id="142" name="Google Shape;142;p19"/>
            <p:cNvSpPr/>
            <p:nvPr/>
          </p:nvSpPr>
          <p:spPr>
            <a:xfrm>
              <a:off x="428" y="3990"/>
              <a:ext cx="66" cy="98"/>
            </a:xfrm>
            <a:custGeom>
              <a:avLst/>
              <a:gdLst/>
              <a:ahLst/>
              <a:cxnLst/>
              <a:rect l="l" t="t" r="r" b="b"/>
              <a:pathLst>
                <a:path w="2176" h="3230" extrusionOk="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143;p19"/>
            <p:cNvSpPr/>
            <p:nvPr/>
          </p:nvSpPr>
          <p:spPr>
            <a:xfrm>
              <a:off x="505" y="3991"/>
              <a:ext cx="85" cy="97"/>
            </a:xfrm>
            <a:custGeom>
              <a:avLst/>
              <a:gdLst/>
              <a:ahLst/>
              <a:cxnLst/>
              <a:rect l="l" t="t" r="r" b="b"/>
              <a:pathLst>
                <a:path w="2769" h="3192" extrusionOk="0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144;p19"/>
            <p:cNvSpPr/>
            <p:nvPr/>
          </p:nvSpPr>
          <p:spPr>
            <a:xfrm>
              <a:off x="608" y="3990"/>
              <a:ext cx="46" cy="97"/>
            </a:xfrm>
            <a:custGeom>
              <a:avLst/>
              <a:gdLst/>
              <a:ahLst/>
              <a:cxnLst/>
              <a:rect l="l" t="t" r="r" b="b"/>
              <a:pathLst>
                <a:path w="1508" h="3192" extrusionOk="0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145;p19"/>
            <p:cNvSpPr/>
            <p:nvPr/>
          </p:nvSpPr>
          <p:spPr>
            <a:xfrm>
              <a:off x="664" y="3952"/>
              <a:ext cx="28" cy="135"/>
            </a:xfrm>
            <a:custGeom>
              <a:avLst/>
              <a:gdLst/>
              <a:ahLst/>
              <a:cxnLst/>
              <a:rect l="l" t="t" r="r" b="b"/>
              <a:pathLst>
                <a:path w="934" h="4454" extrusionOk="0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146;p19"/>
            <p:cNvSpPr/>
            <p:nvPr/>
          </p:nvSpPr>
          <p:spPr>
            <a:xfrm>
              <a:off x="702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1" h="3230" extrusionOk="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147;p19"/>
            <p:cNvSpPr/>
            <p:nvPr/>
          </p:nvSpPr>
          <p:spPr>
            <a:xfrm>
              <a:off x="814" y="3990"/>
              <a:ext cx="88" cy="97"/>
            </a:xfrm>
            <a:custGeom>
              <a:avLst/>
              <a:gdLst/>
              <a:ahLst/>
              <a:cxnLst/>
              <a:rect l="l" t="t" r="r" b="b"/>
              <a:pathLst>
                <a:path w="2893" h="3211" extrusionOk="0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148;p19"/>
            <p:cNvSpPr/>
            <p:nvPr/>
          </p:nvSpPr>
          <p:spPr>
            <a:xfrm>
              <a:off x="316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0" h="3230" extrusionOk="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08836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3" preserve="1">
  <p:cSld name="Section Header 3">
    <p:bg>
      <p:bgPr>
        <a:solidFill>
          <a:schemeClr val="accent1"/>
        </a:solid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Google Shape;150;p20"/>
          <p:cNvSpPr/>
          <p:nvPr/>
        </p:nvSpPr>
        <p:spPr>
          <a:xfrm>
            <a:off x="0" y="0"/>
            <a:ext cx="2286000" cy="1781175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1" name="Google Shape;151;p20"/>
          <p:cNvSpPr/>
          <p:nvPr/>
        </p:nvSpPr>
        <p:spPr>
          <a:xfrm>
            <a:off x="0" y="1781175"/>
            <a:ext cx="2286000" cy="507682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2" name="Google Shape;152;p20"/>
          <p:cNvSpPr txBox="1">
            <a:spLocks noGrp="1"/>
          </p:cNvSpPr>
          <p:nvPr>
            <p:ph type="ctrTitle"/>
          </p:nvPr>
        </p:nvSpPr>
        <p:spPr>
          <a:xfrm>
            <a:off x="2781574" y="446744"/>
            <a:ext cx="6298925" cy="21475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Calibri"/>
              <a:buNone/>
              <a:defRPr sz="4400" b="0" i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53" name="Google Shape;153;p20"/>
          <p:cNvSpPr txBox="1">
            <a:spLocks noGrp="1"/>
          </p:cNvSpPr>
          <p:nvPr>
            <p:ph type="subTitle" idx="1"/>
          </p:nvPr>
        </p:nvSpPr>
        <p:spPr>
          <a:xfrm>
            <a:off x="2789057" y="2762591"/>
            <a:ext cx="6291442" cy="674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 sz="1500" b="0">
                <a:solidFill>
                  <a:schemeClr val="lt1"/>
                </a:solidFill>
              </a:defRPr>
            </a:lvl1pPr>
            <a:lvl2pPr lvl="1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54" name="Google Shape;154;p20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" name="Google Shape;155;p20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6" name="Google Shape;156;p20"/>
          <p:cNvSpPr txBox="1">
            <a:spLocks noGrp="1"/>
          </p:cNvSpPr>
          <p:nvPr>
            <p:ph type="body" idx="2"/>
          </p:nvPr>
        </p:nvSpPr>
        <p:spPr>
          <a:xfrm>
            <a:off x="182879" y="273607"/>
            <a:ext cx="1944810" cy="14285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0"/>
              <a:buNone/>
              <a:defRPr sz="80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57" name="Google Shape;157;p20"/>
          <p:cNvGrpSpPr/>
          <p:nvPr/>
        </p:nvGrpSpPr>
        <p:grpSpPr>
          <a:xfrm>
            <a:off x="504031" y="6390186"/>
            <a:ext cx="918000" cy="213052"/>
            <a:chOff x="316" y="3952"/>
            <a:chExt cx="586" cy="136"/>
          </a:xfrm>
        </p:grpSpPr>
        <p:sp>
          <p:nvSpPr>
            <p:cNvPr id="158" name="Google Shape;158;p20"/>
            <p:cNvSpPr/>
            <p:nvPr/>
          </p:nvSpPr>
          <p:spPr>
            <a:xfrm>
              <a:off x="428" y="3990"/>
              <a:ext cx="66" cy="98"/>
            </a:xfrm>
            <a:custGeom>
              <a:avLst/>
              <a:gdLst/>
              <a:ahLst/>
              <a:cxnLst/>
              <a:rect l="l" t="t" r="r" b="b"/>
              <a:pathLst>
                <a:path w="2176" h="3230" extrusionOk="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159;p20"/>
            <p:cNvSpPr/>
            <p:nvPr/>
          </p:nvSpPr>
          <p:spPr>
            <a:xfrm>
              <a:off x="505" y="3991"/>
              <a:ext cx="85" cy="97"/>
            </a:xfrm>
            <a:custGeom>
              <a:avLst/>
              <a:gdLst/>
              <a:ahLst/>
              <a:cxnLst/>
              <a:rect l="l" t="t" r="r" b="b"/>
              <a:pathLst>
                <a:path w="2769" h="3192" extrusionOk="0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160;p20"/>
            <p:cNvSpPr/>
            <p:nvPr/>
          </p:nvSpPr>
          <p:spPr>
            <a:xfrm>
              <a:off x="608" y="3990"/>
              <a:ext cx="46" cy="97"/>
            </a:xfrm>
            <a:custGeom>
              <a:avLst/>
              <a:gdLst/>
              <a:ahLst/>
              <a:cxnLst/>
              <a:rect l="l" t="t" r="r" b="b"/>
              <a:pathLst>
                <a:path w="1508" h="3192" extrusionOk="0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161;p20"/>
            <p:cNvSpPr/>
            <p:nvPr/>
          </p:nvSpPr>
          <p:spPr>
            <a:xfrm>
              <a:off x="664" y="3952"/>
              <a:ext cx="28" cy="135"/>
            </a:xfrm>
            <a:custGeom>
              <a:avLst/>
              <a:gdLst/>
              <a:ahLst/>
              <a:cxnLst/>
              <a:rect l="l" t="t" r="r" b="b"/>
              <a:pathLst>
                <a:path w="934" h="4454" extrusionOk="0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162;p20"/>
            <p:cNvSpPr/>
            <p:nvPr/>
          </p:nvSpPr>
          <p:spPr>
            <a:xfrm>
              <a:off x="702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1" h="3230" extrusionOk="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163;p20"/>
            <p:cNvSpPr/>
            <p:nvPr/>
          </p:nvSpPr>
          <p:spPr>
            <a:xfrm>
              <a:off x="814" y="3990"/>
              <a:ext cx="88" cy="97"/>
            </a:xfrm>
            <a:custGeom>
              <a:avLst/>
              <a:gdLst/>
              <a:ahLst/>
              <a:cxnLst/>
              <a:rect l="l" t="t" r="r" b="b"/>
              <a:pathLst>
                <a:path w="2893" h="3211" extrusionOk="0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164;p20"/>
            <p:cNvSpPr/>
            <p:nvPr/>
          </p:nvSpPr>
          <p:spPr>
            <a:xfrm>
              <a:off x="316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0" h="3230" extrusionOk="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61776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4" preserve="1">
  <p:cSld name="Section Header 4">
    <p:bg>
      <p:bgPr>
        <a:solidFill>
          <a:schemeClr val="accent2"/>
        </a:solidFill>
        <a:effectLst/>
      </p:bgPr>
    </p:bg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p21"/>
          <p:cNvSpPr>
            <a:spLocks noGrp="1"/>
          </p:cNvSpPr>
          <p:nvPr>
            <p:ph type="pic" idx="2"/>
          </p:nvPr>
        </p:nvSpPr>
        <p:spPr>
          <a:xfrm>
            <a:off x="4572000" y="0"/>
            <a:ext cx="76200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67" name="Google Shape;167;p21"/>
          <p:cNvSpPr txBox="1">
            <a:spLocks noGrp="1"/>
          </p:cNvSpPr>
          <p:nvPr>
            <p:ph type="ctrTitle"/>
          </p:nvPr>
        </p:nvSpPr>
        <p:spPr>
          <a:xfrm>
            <a:off x="535141" y="446743"/>
            <a:ext cx="3778097" cy="26903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Calibri"/>
              <a:buNone/>
              <a:defRPr sz="4400" b="0" i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68" name="Google Shape;168;p21"/>
          <p:cNvSpPr txBox="1">
            <a:spLocks noGrp="1"/>
          </p:cNvSpPr>
          <p:nvPr>
            <p:ph type="subTitle" idx="1"/>
          </p:nvPr>
        </p:nvSpPr>
        <p:spPr>
          <a:xfrm>
            <a:off x="542624" y="3436643"/>
            <a:ext cx="3773609" cy="674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 sz="1500" b="0">
                <a:solidFill>
                  <a:schemeClr val="lt1"/>
                </a:solidFill>
              </a:defRPr>
            </a:lvl1pPr>
            <a:lvl2pPr lvl="1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69" name="Google Shape;169;p21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" name="Google Shape;170;p21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71" name="Google Shape;171;p21"/>
          <p:cNvGrpSpPr/>
          <p:nvPr/>
        </p:nvGrpSpPr>
        <p:grpSpPr>
          <a:xfrm>
            <a:off x="504031" y="6390186"/>
            <a:ext cx="918000" cy="213052"/>
            <a:chOff x="316" y="3952"/>
            <a:chExt cx="586" cy="136"/>
          </a:xfrm>
        </p:grpSpPr>
        <p:sp>
          <p:nvSpPr>
            <p:cNvPr id="172" name="Google Shape;172;p21"/>
            <p:cNvSpPr/>
            <p:nvPr/>
          </p:nvSpPr>
          <p:spPr>
            <a:xfrm>
              <a:off x="428" y="3990"/>
              <a:ext cx="66" cy="98"/>
            </a:xfrm>
            <a:custGeom>
              <a:avLst/>
              <a:gdLst/>
              <a:ahLst/>
              <a:cxnLst/>
              <a:rect l="l" t="t" r="r" b="b"/>
              <a:pathLst>
                <a:path w="2176" h="3230" extrusionOk="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173;p21"/>
            <p:cNvSpPr/>
            <p:nvPr/>
          </p:nvSpPr>
          <p:spPr>
            <a:xfrm>
              <a:off x="505" y="3991"/>
              <a:ext cx="85" cy="97"/>
            </a:xfrm>
            <a:custGeom>
              <a:avLst/>
              <a:gdLst/>
              <a:ahLst/>
              <a:cxnLst/>
              <a:rect l="l" t="t" r="r" b="b"/>
              <a:pathLst>
                <a:path w="2769" h="3192" extrusionOk="0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174;p21"/>
            <p:cNvSpPr/>
            <p:nvPr/>
          </p:nvSpPr>
          <p:spPr>
            <a:xfrm>
              <a:off x="608" y="3990"/>
              <a:ext cx="46" cy="97"/>
            </a:xfrm>
            <a:custGeom>
              <a:avLst/>
              <a:gdLst/>
              <a:ahLst/>
              <a:cxnLst/>
              <a:rect l="l" t="t" r="r" b="b"/>
              <a:pathLst>
                <a:path w="1508" h="3192" extrusionOk="0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21"/>
            <p:cNvSpPr/>
            <p:nvPr/>
          </p:nvSpPr>
          <p:spPr>
            <a:xfrm>
              <a:off x="664" y="3952"/>
              <a:ext cx="28" cy="135"/>
            </a:xfrm>
            <a:custGeom>
              <a:avLst/>
              <a:gdLst/>
              <a:ahLst/>
              <a:cxnLst/>
              <a:rect l="l" t="t" r="r" b="b"/>
              <a:pathLst>
                <a:path w="934" h="4454" extrusionOk="0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176;p21"/>
            <p:cNvSpPr/>
            <p:nvPr/>
          </p:nvSpPr>
          <p:spPr>
            <a:xfrm>
              <a:off x="702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1" h="3230" extrusionOk="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177;p21"/>
            <p:cNvSpPr/>
            <p:nvPr/>
          </p:nvSpPr>
          <p:spPr>
            <a:xfrm>
              <a:off x="814" y="3990"/>
              <a:ext cx="88" cy="97"/>
            </a:xfrm>
            <a:custGeom>
              <a:avLst/>
              <a:gdLst/>
              <a:ahLst/>
              <a:cxnLst/>
              <a:rect l="l" t="t" r="r" b="b"/>
              <a:pathLst>
                <a:path w="2893" h="3211" extrusionOk="0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178;p21"/>
            <p:cNvSpPr/>
            <p:nvPr/>
          </p:nvSpPr>
          <p:spPr>
            <a:xfrm>
              <a:off x="316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0" h="3230" extrusionOk="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1463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5" preserve="1">
  <p:cSld name="Section Header 5">
    <p:bg>
      <p:bgPr>
        <a:solidFill>
          <a:schemeClr val="accent1"/>
        </a:solidFill>
        <a:effectLst/>
      </p:bgPr>
    </p:bg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p22"/>
          <p:cNvSpPr>
            <a:spLocks noGrp="1"/>
          </p:cNvSpPr>
          <p:nvPr>
            <p:ph type="pic" idx="2"/>
          </p:nvPr>
        </p:nvSpPr>
        <p:spPr>
          <a:xfrm>
            <a:off x="4572000" y="0"/>
            <a:ext cx="76200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81" name="Google Shape;181;p22"/>
          <p:cNvSpPr txBox="1">
            <a:spLocks noGrp="1"/>
          </p:cNvSpPr>
          <p:nvPr>
            <p:ph type="ctrTitle"/>
          </p:nvPr>
        </p:nvSpPr>
        <p:spPr>
          <a:xfrm>
            <a:off x="535141" y="446743"/>
            <a:ext cx="3778097" cy="26903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Calibri"/>
              <a:buNone/>
              <a:defRPr sz="4400" b="0" i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82" name="Google Shape;182;p22"/>
          <p:cNvSpPr txBox="1">
            <a:spLocks noGrp="1"/>
          </p:cNvSpPr>
          <p:nvPr>
            <p:ph type="subTitle" idx="1"/>
          </p:nvPr>
        </p:nvSpPr>
        <p:spPr>
          <a:xfrm>
            <a:off x="542624" y="3436643"/>
            <a:ext cx="3773609" cy="674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 sz="1500" b="0">
                <a:solidFill>
                  <a:schemeClr val="lt1"/>
                </a:solidFill>
              </a:defRPr>
            </a:lvl1pPr>
            <a:lvl2pPr lvl="1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83" name="Google Shape;183;p22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" name="Google Shape;184;p22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85" name="Google Shape;185;p22"/>
          <p:cNvGrpSpPr/>
          <p:nvPr/>
        </p:nvGrpSpPr>
        <p:grpSpPr>
          <a:xfrm>
            <a:off x="504031" y="6390186"/>
            <a:ext cx="918000" cy="213052"/>
            <a:chOff x="316" y="3952"/>
            <a:chExt cx="586" cy="136"/>
          </a:xfrm>
        </p:grpSpPr>
        <p:sp>
          <p:nvSpPr>
            <p:cNvPr id="186" name="Google Shape;186;p22"/>
            <p:cNvSpPr/>
            <p:nvPr/>
          </p:nvSpPr>
          <p:spPr>
            <a:xfrm>
              <a:off x="428" y="3990"/>
              <a:ext cx="66" cy="98"/>
            </a:xfrm>
            <a:custGeom>
              <a:avLst/>
              <a:gdLst/>
              <a:ahLst/>
              <a:cxnLst/>
              <a:rect l="l" t="t" r="r" b="b"/>
              <a:pathLst>
                <a:path w="2176" h="3230" extrusionOk="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187;p22"/>
            <p:cNvSpPr/>
            <p:nvPr/>
          </p:nvSpPr>
          <p:spPr>
            <a:xfrm>
              <a:off x="505" y="3991"/>
              <a:ext cx="85" cy="97"/>
            </a:xfrm>
            <a:custGeom>
              <a:avLst/>
              <a:gdLst/>
              <a:ahLst/>
              <a:cxnLst/>
              <a:rect l="l" t="t" r="r" b="b"/>
              <a:pathLst>
                <a:path w="2769" h="3192" extrusionOk="0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188;p22"/>
            <p:cNvSpPr/>
            <p:nvPr/>
          </p:nvSpPr>
          <p:spPr>
            <a:xfrm>
              <a:off x="608" y="3990"/>
              <a:ext cx="46" cy="97"/>
            </a:xfrm>
            <a:custGeom>
              <a:avLst/>
              <a:gdLst/>
              <a:ahLst/>
              <a:cxnLst/>
              <a:rect l="l" t="t" r="r" b="b"/>
              <a:pathLst>
                <a:path w="1508" h="3192" extrusionOk="0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189;p22"/>
            <p:cNvSpPr/>
            <p:nvPr/>
          </p:nvSpPr>
          <p:spPr>
            <a:xfrm>
              <a:off x="664" y="3952"/>
              <a:ext cx="28" cy="135"/>
            </a:xfrm>
            <a:custGeom>
              <a:avLst/>
              <a:gdLst/>
              <a:ahLst/>
              <a:cxnLst/>
              <a:rect l="l" t="t" r="r" b="b"/>
              <a:pathLst>
                <a:path w="934" h="4454" extrusionOk="0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190;p22"/>
            <p:cNvSpPr/>
            <p:nvPr/>
          </p:nvSpPr>
          <p:spPr>
            <a:xfrm>
              <a:off x="702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1" h="3230" extrusionOk="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191;p22"/>
            <p:cNvSpPr/>
            <p:nvPr/>
          </p:nvSpPr>
          <p:spPr>
            <a:xfrm>
              <a:off x="814" y="3990"/>
              <a:ext cx="88" cy="97"/>
            </a:xfrm>
            <a:custGeom>
              <a:avLst/>
              <a:gdLst/>
              <a:ahLst/>
              <a:cxnLst/>
              <a:rect l="l" t="t" r="r" b="b"/>
              <a:pathLst>
                <a:path w="2893" h="3211" extrusionOk="0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192;p22"/>
            <p:cNvSpPr/>
            <p:nvPr/>
          </p:nvSpPr>
          <p:spPr>
            <a:xfrm>
              <a:off x="316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0" h="3230" extrusionOk="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79627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Layouts" preserve="1">
  <p:cSld name="Content Layouts">
    <p:bg>
      <p:bgPr>
        <a:solidFill>
          <a:schemeClr val="dk1"/>
        </a:solidFill>
        <a:effectLst/>
      </p:bgPr>
    </p:bg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p23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95" name="Google Shape;195;p23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" name="Google Shape;196;p23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97" name="Google Shape;197;p23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500" b="0" i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CONTENT</a:t>
            </a:r>
            <a:br>
              <a:rPr lang="en-US" sz="11500" b="0" i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1500" b="0" i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LAYOUTS</a:t>
            </a:r>
            <a:endParaRPr/>
          </a:p>
        </p:txBody>
      </p:sp>
      <p:sp>
        <p:nvSpPr>
          <p:cNvPr id="198" name="Google Shape;198;p23"/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25541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" preserve="1">
  <p:cSld name="Three Content"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Google Shape;227;p29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28" name="Google Shape;228;p29"/>
          <p:cNvSpPr txBox="1">
            <a:spLocks noGrp="1"/>
          </p:cNvSpPr>
          <p:nvPr>
            <p:ph type="body" idx="1"/>
          </p:nvPr>
        </p:nvSpPr>
        <p:spPr>
          <a:xfrm>
            <a:off x="500063" y="2520000"/>
            <a:ext cx="3589337" cy="3365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9" name="Google Shape;229;p29"/>
          <p:cNvSpPr txBox="1">
            <a:spLocks noGrp="1"/>
          </p:cNvSpPr>
          <p:nvPr>
            <p:ph type="body" idx="2"/>
          </p:nvPr>
        </p:nvSpPr>
        <p:spPr>
          <a:xfrm>
            <a:off x="4301332" y="2520000"/>
            <a:ext cx="3589337" cy="3365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0" name="Google Shape;230;p29"/>
          <p:cNvSpPr txBox="1">
            <a:spLocks noGrp="1"/>
          </p:cNvSpPr>
          <p:nvPr>
            <p:ph type="body" idx="3"/>
          </p:nvPr>
        </p:nvSpPr>
        <p:spPr>
          <a:xfrm>
            <a:off x="8102601" y="2520000"/>
            <a:ext cx="3589337" cy="3365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1" name="Google Shape;231;p29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2" name="Google Shape;232;p29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07930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Content" preserve="1">
  <p:cSld name="Four Content"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p30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35" name="Google Shape;235;p30"/>
          <p:cNvSpPr txBox="1">
            <a:spLocks noGrp="1"/>
          </p:cNvSpPr>
          <p:nvPr>
            <p:ph type="body" idx="1"/>
          </p:nvPr>
        </p:nvSpPr>
        <p:spPr>
          <a:xfrm>
            <a:off x="500063" y="2520000"/>
            <a:ext cx="2586037" cy="3365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6" name="Google Shape;236;p30"/>
          <p:cNvSpPr txBox="1">
            <a:spLocks noGrp="1"/>
          </p:cNvSpPr>
          <p:nvPr>
            <p:ph type="body" idx="2"/>
          </p:nvPr>
        </p:nvSpPr>
        <p:spPr>
          <a:xfrm>
            <a:off x="3293269" y="2520000"/>
            <a:ext cx="2586037" cy="3365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7" name="Google Shape;237;p30"/>
          <p:cNvSpPr txBox="1">
            <a:spLocks noGrp="1"/>
          </p:cNvSpPr>
          <p:nvPr>
            <p:ph type="body" idx="3"/>
          </p:nvPr>
        </p:nvSpPr>
        <p:spPr>
          <a:xfrm>
            <a:off x="6086475" y="2520000"/>
            <a:ext cx="2586037" cy="3365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8" name="Google Shape;238;p30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9" name="Google Shape;239;p30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40" name="Google Shape;240;p30"/>
          <p:cNvSpPr txBox="1">
            <a:spLocks noGrp="1"/>
          </p:cNvSpPr>
          <p:nvPr>
            <p:ph type="body" idx="4"/>
          </p:nvPr>
        </p:nvSpPr>
        <p:spPr>
          <a:xfrm>
            <a:off x="8879681" y="2520000"/>
            <a:ext cx="2586037" cy="3365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509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ntent Dark" preserve="1">
  <p:cSld name="One Content Dark">
    <p:bg>
      <p:bgPr>
        <a:solidFill>
          <a:schemeClr val="dk1"/>
        </a:solidFill>
        <a:effectLst/>
      </p:bgPr>
    </p:bg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p31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43" name="Google Shape;243;p31"/>
          <p:cNvSpPr txBox="1">
            <a:spLocks noGrp="1"/>
          </p:cNvSpPr>
          <p:nvPr>
            <p:ph type="body" idx="1"/>
          </p:nvPr>
        </p:nvSpPr>
        <p:spPr>
          <a:xfrm>
            <a:off x="500063" y="2520000"/>
            <a:ext cx="5595937" cy="3365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4" name="Google Shape;244;p31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5" name="Google Shape;245;p31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79759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3800CAF-8C92-4417-9180-874FBE367E0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</p:spPr>
        <p:txBody>
          <a:bodyPr anchor="ctr"/>
          <a:lstStyle/>
          <a:p>
            <a:r>
              <a:rPr lang="en-US"/>
              <a:t>Click to add image&gt;</a:t>
            </a: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>
            <a:lvl1pPr>
              <a:defRPr sz="32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3689"/>
            <a:ext cx="5056675" cy="3329423"/>
          </a:xfrm>
        </p:spPr>
        <p:txBody>
          <a:bodyPr spcCol="540000"/>
          <a:lstStyle>
            <a:lvl2pPr>
              <a:spcBef>
                <a:spcPts val="300"/>
              </a:spcBef>
              <a:defRPr/>
            </a:lvl2pPr>
            <a:lvl3pPr>
              <a:spcBef>
                <a:spcPts val="6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639103-1054-48CB-9C4A-BC221A9D489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0063" y="1481655"/>
            <a:ext cx="5056675" cy="78676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06CD7DF-C4F2-B049-BE3C-8BD9236EDF6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6B3E6E2-23A9-4B4F-A714-771A9FF980F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799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Dark" preserve="1">
  <p:cSld name="Two Content Dark">
    <p:bg>
      <p:bgPr>
        <a:solidFill>
          <a:schemeClr val="dk1"/>
        </a:solidFill>
        <a:effectLst/>
      </p:bgPr>
    </p:bg>
    <p:spTree>
      <p:nvGrpSpPr>
        <p:cNvPr id="1" name="Shape 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Google Shape;247;p32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48" name="Google Shape;248;p32"/>
          <p:cNvSpPr txBox="1">
            <a:spLocks noGrp="1"/>
          </p:cNvSpPr>
          <p:nvPr>
            <p:ph type="body" idx="1"/>
          </p:nvPr>
        </p:nvSpPr>
        <p:spPr>
          <a:xfrm>
            <a:off x="500063" y="2517775"/>
            <a:ext cx="5324400" cy="3373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9" name="Google Shape;249;p32"/>
          <p:cNvSpPr txBox="1">
            <a:spLocks noGrp="1"/>
          </p:cNvSpPr>
          <p:nvPr>
            <p:ph type="body" idx="2"/>
          </p:nvPr>
        </p:nvSpPr>
        <p:spPr>
          <a:xfrm>
            <a:off x="6367537" y="2517775"/>
            <a:ext cx="5324400" cy="3373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0" name="Google Shape;250;p32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1" name="Google Shape;251;p32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00549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 Dark" preserve="1">
  <p:cSld name="Three Content Dark">
    <p:bg>
      <p:bgPr>
        <a:solidFill>
          <a:schemeClr val="dk1"/>
        </a:solidFill>
        <a:effectLst/>
      </p:bgPr>
    </p:bg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p33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54" name="Google Shape;254;p33"/>
          <p:cNvSpPr txBox="1">
            <a:spLocks noGrp="1"/>
          </p:cNvSpPr>
          <p:nvPr>
            <p:ph type="body" idx="1"/>
          </p:nvPr>
        </p:nvSpPr>
        <p:spPr>
          <a:xfrm>
            <a:off x="500063" y="2520000"/>
            <a:ext cx="3589337" cy="3365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5" name="Google Shape;255;p33"/>
          <p:cNvSpPr txBox="1">
            <a:spLocks noGrp="1"/>
          </p:cNvSpPr>
          <p:nvPr>
            <p:ph type="body" idx="2"/>
          </p:nvPr>
        </p:nvSpPr>
        <p:spPr>
          <a:xfrm>
            <a:off x="4301332" y="2520000"/>
            <a:ext cx="3589337" cy="3365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6" name="Google Shape;256;p33"/>
          <p:cNvSpPr txBox="1">
            <a:spLocks noGrp="1"/>
          </p:cNvSpPr>
          <p:nvPr>
            <p:ph type="body" idx="3"/>
          </p:nvPr>
        </p:nvSpPr>
        <p:spPr>
          <a:xfrm>
            <a:off x="8102601" y="2520000"/>
            <a:ext cx="3589337" cy="3365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7" name="Google Shape;257;p33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8" name="Google Shape;258;p33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46595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Content Dark" preserve="1">
  <p:cSld name="Four Content Dark">
    <p:bg>
      <p:bgPr>
        <a:solidFill>
          <a:schemeClr val="dk1"/>
        </a:solidFill>
        <a:effectLst/>
      </p:bgPr>
    </p:bg>
    <p:spTree>
      <p:nvGrpSpPr>
        <p:cNvPr id="1" name="Shape 2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" name="Google Shape;260;p34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61" name="Google Shape;261;p34"/>
          <p:cNvSpPr txBox="1">
            <a:spLocks noGrp="1"/>
          </p:cNvSpPr>
          <p:nvPr>
            <p:ph type="body" idx="1"/>
          </p:nvPr>
        </p:nvSpPr>
        <p:spPr>
          <a:xfrm>
            <a:off x="500063" y="2520000"/>
            <a:ext cx="2586037" cy="3365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2" name="Google Shape;262;p34"/>
          <p:cNvSpPr txBox="1">
            <a:spLocks noGrp="1"/>
          </p:cNvSpPr>
          <p:nvPr>
            <p:ph type="body" idx="2"/>
          </p:nvPr>
        </p:nvSpPr>
        <p:spPr>
          <a:xfrm>
            <a:off x="3293269" y="2520000"/>
            <a:ext cx="2586037" cy="3365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3" name="Google Shape;263;p34"/>
          <p:cNvSpPr txBox="1">
            <a:spLocks noGrp="1"/>
          </p:cNvSpPr>
          <p:nvPr>
            <p:ph type="body" idx="3"/>
          </p:nvPr>
        </p:nvSpPr>
        <p:spPr>
          <a:xfrm>
            <a:off x="6086475" y="2520000"/>
            <a:ext cx="2586037" cy="3365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4" name="Google Shape;264;p34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5" name="Google Shape;265;p34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66" name="Google Shape;266;p34"/>
          <p:cNvSpPr txBox="1">
            <a:spLocks noGrp="1"/>
          </p:cNvSpPr>
          <p:nvPr>
            <p:ph type="body" idx="4"/>
          </p:nvPr>
        </p:nvSpPr>
        <p:spPr>
          <a:xfrm>
            <a:off x="8879681" y="2520000"/>
            <a:ext cx="2586037" cy="3365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9577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, Content and Chart" preserve="1">
  <p:cSld name="Title, Sub, Content and Chart"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35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5F4F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9" name="Google Shape;269;p35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70" name="Google Shape;270;p35"/>
          <p:cNvSpPr txBox="1">
            <a:spLocks noGrp="1"/>
          </p:cNvSpPr>
          <p:nvPr>
            <p:ph type="body" idx="1"/>
          </p:nvPr>
        </p:nvSpPr>
        <p:spPr>
          <a:xfrm>
            <a:off x="500063" y="2523689"/>
            <a:ext cx="5056675" cy="33294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1" name="Google Shape;271;p35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2" name="Google Shape;272;p35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1pPr>
            <a:lvl2pPr marL="0" lvl="1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2pPr>
            <a:lvl3pPr marL="0" lvl="2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3pPr>
            <a:lvl4pPr marL="0" lvl="3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4pPr>
            <a:lvl5pPr marL="0" lvl="4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5pPr>
            <a:lvl6pPr marL="0" lvl="5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6pPr>
            <a:lvl7pPr marL="0" lvl="6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7pPr>
            <a:lvl8pPr marL="0" lvl="7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8pPr>
            <a:lvl9pPr marL="0" lvl="8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73" name="Google Shape;273;p35"/>
          <p:cNvSpPr txBox="1">
            <a:spLocks noGrp="1"/>
          </p:cNvSpPr>
          <p:nvPr>
            <p:ph type="body" idx="2"/>
          </p:nvPr>
        </p:nvSpPr>
        <p:spPr>
          <a:xfrm>
            <a:off x="500063" y="1481655"/>
            <a:ext cx="5056675" cy="786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4" name="Google Shape;274;p35"/>
          <p:cNvSpPr>
            <a:spLocks noGrp="1"/>
          </p:cNvSpPr>
          <p:nvPr>
            <p:ph type="chart" idx="3"/>
          </p:nvPr>
        </p:nvSpPr>
        <p:spPr>
          <a:xfrm>
            <a:off x="6499225" y="1041400"/>
            <a:ext cx="5192713" cy="48498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20869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, Content and Chart Dark" preserve="1">
  <p:cSld name="Title, Sub, Content and Chart Dark">
    <p:spTree>
      <p:nvGrpSpPr>
        <p:cNvPr id="1" name="Shape 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" name="Google Shape;276;p36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7" name="Google Shape;277;p36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78" name="Google Shape;278;p36"/>
          <p:cNvSpPr txBox="1">
            <a:spLocks noGrp="1"/>
          </p:cNvSpPr>
          <p:nvPr>
            <p:ph type="body" idx="1"/>
          </p:nvPr>
        </p:nvSpPr>
        <p:spPr>
          <a:xfrm>
            <a:off x="500063" y="2523689"/>
            <a:ext cx="5056675" cy="33294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9" name="Google Shape;279;p36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0" name="Google Shape;280;p36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81" name="Google Shape;281;p36"/>
          <p:cNvSpPr txBox="1">
            <a:spLocks noGrp="1"/>
          </p:cNvSpPr>
          <p:nvPr>
            <p:ph type="body" idx="2"/>
          </p:nvPr>
        </p:nvSpPr>
        <p:spPr>
          <a:xfrm>
            <a:off x="500063" y="1481655"/>
            <a:ext cx="5056675" cy="786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2" name="Google Shape;282;p36"/>
          <p:cNvSpPr>
            <a:spLocks noGrp="1"/>
          </p:cNvSpPr>
          <p:nvPr>
            <p:ph type="chart" idx="3"/>
          </p:nvPr>
        </p:nvSpPr>
        <p:spPr>
          <a:xfrm>
            <a:off x="6499225" y="1041400"/>
            <a:ext cx="5192713" cy="48498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616701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, Content and Image" preserve="1">
  <p:cSld name="Title, Sub, Content and Image">
    <p:spTree>
      <p:nvGrpSpPr>
        <p:cNvPr id="1" name="Shape 2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Google Shape;284;p37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285" name="Google Shape;285;p37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86" name="Google Shape;286;p37"/>
          <p:cNvSpPr txBox="1">
            <a:spLocks noGrp="1"/>
          </p:cNvSpPr>
          <p:nvPr>
            <p:ph type="body" idx="1"/>
          </p:nvPr>
        </p:nvSpPr>
        <p:spPr>
          <a:xfrm>
            <a:off x="500063" y="2523689"/>
            <a:ext cx="5056675" cy="33294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7" name="Google Shape;287;p37"/>
          <p:cNvSpPr txBox="1">
            <a:spLocks noGrp="1"/>
          </p:cNvSpPr>
          <p:nvPr>
            <p:ph type="body" idx="3"/>
          </p:nvPr>
        </p:nvSpPr>
        <p:spPr>
          <a:xfrm>
            <a:off x="500063" y="1481655"/>
            <a:ext cx="5056675" cy="786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8" name="Google Shape;288;p37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9" name="Google Shape;289;p37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88310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Images with Text" preserve="1">
  <p:cSld name="Three Images with Text">
    <p:spTree>
      <p:nvGrpSpPr>
        <p:cNvPr id="1" name="Shape 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" name="Google Shape;291;p38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cxnSp>
        <p:nvCxnSpPr>
          <p:cNvPr id="292" name="Google Shape;292;p38"/>
          <p:cNvCxnSpPr/>
          <p:nvPr/>
        </p:nvCxnSpPr>
        <p:spPr>
          <a:xfrm>
            <a:off x="500063" y="4316231"/>
            <a:ext cx="3562351" cy="0"/>
          </a:xfrm>
          <a:prstGeom prst="straightConnector1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293" name="Google Shape;293;p38"/>
          <p:cNvCxnSpPr/>
          <p:nvPr/>
        </p:nvCxnSpPr>
        <p:spPr>
          <a:xfrm>
            <a:off x="4314825" y="4316231"/>
            <a:ext cx="3562351" cy="0"/>
          </a:xfrm>
          <a:prstGeom prst="straightConnector1">
            <a:avLst/>
          </a:prstGeom>
          <a:noFill/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294" name="Google Shape;294;p38"/>
          <p:cNvCxnSpPr/>
          <p:nvPr/>
        </p:nvCxnSpPr>
        <p:spPr>
          <a:xfrm>
            <a:off x="8129587" y="4316231"/>
            <a:ext cx="3562351" cy="0"/>
          </a:xfrm>
          <a:prstGeom prst="straightConnector1">
            <a:avLst/>
          </a:prstGeom>
          <a:noFill/>
          <a:ln w="127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5" name="Google Shape;295;p38"/>
          <p:cNvSpPr>
            <a:spLocks noGrp="1"/>
          </p:cNvSpPr>
          <p:nvPr>
            <p:ph type="pic" idx="2"/>
          </p:nvPr>
        </p:nvSpPr>
        <p:spPr>
          <a:xfrm>
            <a:off x="500063" y="1788962"/>
            <a:ext cx="3562350" cy="23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296" name="Google Shape;296;p38"/>
          <p:cNvSpPr>
            <a:spLocks noGrp="1"/>
          </p:cNvSpPr>
          <p:nvPr>
            <p:ph type="pic" idx="3"/>
          </p:nvPr>
        </p:nvSpPr>
        <p:spPr>
          <a:xfrm>
            <a:off x="4314826" y="1788962"/>
            <a:ext cx="3562350" cy="23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297" name="Google Shape;297;p38"/>
          <p:cNvSpPr>
            <a:spLocks noGrp="1"/>
          </p:cNvSpPr>
          <p:nvPr>
            <p:ph type="pic" idx="4"/>
          </p:nvPr>
        </p:nvSpPr>
        <p:spPr>
          <a:xfrm>
            <a:off x="8129588" y="1788962"/>
            <a:ext cx="3562350" cy="23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298" name="Google Shape;298;p38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9" name="Google Shape;299;p38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00" name="Google Shape;300;p38"/>
          <p:cNvSpPr txBox="1">
            <a:spLocks noGrp="1"/>
          </p:cNvSpPr>
          <p:nvPr>
            <p:ph type="body" idx="1"/>
          </p:nvPr>
        </p:nvSpPr>
        <p:spPr>
          <a:xfrm>
            <a:off x="500064" y="4419255"/>
            <a:ext cx="3600000" cy="14624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1" name="Google Shape;301;p38"/>
          <p:cNvSpPr txBox="1">
            <a:spLocks noGrp="1"/>
          </p:cNvSpPr>
          <p:nvPr>
            <p:ph type="body" idx="5"/>
          </p:nvPr>
        </p:nvSpPr>
        <p:spPr>
          <a:xfrm>
            <a:off x="4314826" y="4419255"/>
            <a:ext cx="3600000" cy="14624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2" name="Google Shape;302;p38"/>
          <p:cNvSpPr txBox="1">
            <a:spLocks noGrp="1"/>
          </p:cNvSpPr>
          <p:nvPr>
            <p:ph type="body" idx="6"/>
          </p:nvPr>
        </p:nvSpPr>
        <p:spPr>
          <a:xfrm>
            <a:off x="8129589" y="4419255"/>
            <a:ext cx="3600000" cy="14624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5441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Charts with Text" preserve="1">
  <p:cSld name="Four Charts with Text"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p39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05" name="Google Shape;305;p39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6" name="Google Shape;306;p39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07" name="Google Shape;307;p39"/>
          <p:cNvSpPr txBox="1">
            <a:spLocks noGrp="1"/>
          </p:cNvSpPr>
          <p:nvPr>
            <p:ph type="body" idx="1"/>
          </p:nvPr>
        </p:nvSpPr>
        <p:spPr>
          <a:xfrm>
            <a:off x="500063" y="1481655"/>
            <a:ext cx="5056675" cy="786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8" name="Google Shape;308;p39"/>
          <p:cNvSpPr>
            <a:spLocks noGrp="1"/>
          </p:cNvSpPr>
          <p:nvPr>
            <p:ph type="chart" idx="2"/>
          </p:nvPr>
        </p:nvSpPr>
        <p:spPr>
          <a:xfrm>
            <a:off x="500063" y="2658741"/>
            <a:ext cx="2635250" cy="21275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/>
          </a:p>
        </p:txBody>
      </p:sp>
      <p:sp>
        <p:nvSpPr>
          <p:cNvPr id="309" name="Google Shape;309;p39"/>
          <p:cNvSpPr>
            <a:spLocks noGrp="1"/>
          </p:cNvSpPr>
          <p:nvPr>
            <p:ph type="chart" idx="3"/>
          </p:nvPr>
        </p:nvSpPr>
        <p:spPr>
          <a:xfrm>
            <a:off x="3280586" y="2658741"/>
            <a:ext cx="2635250" cy="21275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/>
          </a:p>
        </p:txBody>
      </p:sp>
      <p:sp>
        <p:nvSpPr>
          <p:cNvPr id="310" name="Google Shape;310;p39"/>
          <p:cNvSpPr>
            <a:spLocks noGrp="1"/>
          </p:cNvSpPr>
          <p:nvPr>
            <p:ph type="chart" idx="4"/>
          </p:nvPr>
        </p:nvSpPr>
        <p:spPr>
          <a:xfrm>
            <a:off x="6089101" y="2658741"/>
            <a:ext cx="2635250" cy="21275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/>
          </a:p>
        </p:txBody>
      </p:sp>
      <p:sp>
        <p:nvSpPr>
          <p:cNvPr id="311" name="Google Shape;311;p39"/>
          <p:cNvSpPr>
            <a:spLocks noGrp="1"/>
          </p:cNvSpPr>
          <p:nvPr>
            <p:ph type="chart" idx="5"/>
          </p:nvPr>
        </p:nvSpPr>
        <p:spPr>
          <a:xfrm>
            <a:off x="8897615" y="2658741"/>
            <a:ext cx="2635250" cy="21275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/>
          </a:p>
        </p:txBody>
      </p:sp>
      <p:sp>
        <p:nvSpPr>
          <p:cNvPr id="312" name="Google Shape;312;p39"/>
          <p:cNvSpPr txBox="1">
            <a:spLocks noGrp="1"/>
          </p:cNvSpPr>
          <p:nvPr>
            <p:ph type="body" idx="6"/>
          </p:nvPr>
        </p:nvSpPr>
        <p:spPr>
          <a:xfrm>
            <a:off x="500064" y="4861249"/>
            <a:ext cx="2635021" cy="1020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3" name="Google Shape;313;p39"/>
          <p:cNvSpPr txBox="1">
            <a:spLocks noGrp="1"/>
          </p:cNvSpPr>
          <p:nvPr>
            <p:ph type="body" idx="7"/>
          </p:nvPr>
        </p:nvSpPr>
        <p:spPr>
          <a:xfrm>
            <a:off x="3280587" y="4861249"/>
            <a:ext cx="2635021" cy="1020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4" name="Google Shape;314;p39"/>
          <p:cNvSpPr txBox="1">
            <a:spLocks noGrp="1"/>
          </p:cNvSpPr>
          <p:nvPr>
            <p:ph type="body" idx="8"/>
          </p:nvPr>
        </p:nvSpPr>
        <p:spPr>
          <a:xfrm>
            <a:off x="6089101" y="4861249"/>
            <a:ext cx="2635021" cy="1020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5" name="Google Shape;315;p39"/>
          <p:cNvSpPr txBox="1">
            <a:spLocks noGrp="1"/>
          </p:cNvSpPr>
          <p:nvPr>
            <p:ph type="body" idx="9"/>
          </p:nvPr>
        </p:nvSpPr>
        <p:spPr>
          <a:xfrm>
            <a:off x="8897616" y="4861249"/>
            <a:ext cx="2635021" cy="1020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9981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preserve="1">
  <p:cSld name="Comparison">
    <p:spTree>
      <p:nvGrpSpPr>
        <p:cNvPr id="1" name="Shape 3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" name="Google Shape;317;p40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18" name="Google Shape;318;p40"/>
          <p:cNvSpPr txBox="1">
            <a:spLocks noGrp="1"/>
          </p:cNvSpPr>
          <p:nvPr>
            <p:ph type="body" idx="1"/>
          </p:nvPr>
        </p:nvSpPr>
        <p:spPr>
          <a:xfrm>
            <a:off x="500063" y="1483200"/>
            <a:ext cx="5470526" cy="786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9" name="Google Shape;319;p40"/>
          <p:cNvSpPr txBox="1">
            <a:spLocks noGrp="1"/>
          </p:cNvSpPr>
          <p:nvPr>
            <p:ph type="body" idx="2"/>
          </p:nvPr>
        </p:nvSpPr>
        <p:spPr>
          <a:xfrm>
            <a:off x="500063" y="2520950"/>
            <a:ext cx="5470525" cy="33702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4pPr>
            <a:lvl5pPr marL="2286000" lvl="4" indent="-2984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0" name="Google Shape;320;p40"/>
          <p:cNvSpPr txBox="1">
            <a:spLocks noGrp="1"/>
          </p:cNvSpPr>
          <p:nvPr>
            <p:ph type="body" idx="3"/>
          </p:nvPr>
        </p:nvSpPr>
        <p:spPr>
          <a:xfrm>
            <a:off x="6221414" y="2520950"/>
            <a:ext cx="5471476" cy="33702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4pPr>
            <a:lvl5pPr marL="2286000" lvl="4" indent="-2984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1" name="Google Shape;321;p40"/>
          <p:cNvSpPr txBox="1">
            <a:spLocks noGrp="1"/>
          </p:cNvSpPr>
          <p:nvPr>
            <p:ph type="body" idx="4"/>
          </p:nvPr>
        </p:nvSpPr>
        <p:spPr>
          <a:xfrm>
            <a:off x="6221412" y="1483200"/>
            <a:ext cx="5471477" cy="786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2" name="Google Shape;322;p40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3" name="Google Shape;323;p40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24074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Content and Quad" preserve="1">
  <p:cSld name="Title, Content and Quad"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p41"/>
          <p:cNvSpPr/>
          <p:nvPr/>
        </p:nvSpPr>
        <p:spPr>
          <a:xfrm>
            <a:off x="6096000" y="0"/>
            <a:ext cx="3050607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6" name="Google Shape;326;p41"/>
          <p:cNvSpPr/>
          <p:nvPr/>
        </p:nvSpPr>
        <p:spPr>
          <a:xfrm>
            <a:off x="9141393" y="0"/>
            <a:ext cx="3050607" cy="3429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7" name="Google Shape;327;p41"/>
          <p:cNvSpPr/>
          <p:nvPr/>
        </p:nvSpPr>
        <p:spPr>
          <a:xfrm>
            <a:off x="6096000" y="3429000"/>
            <a:ext cx="3050607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8" name="Google Shape;328;p41"/>
          <p:cNvSpPr/>
          <p:nvPr/>
        </p:nvSpPr>
        <p:spPr>
          <a:xfrm>
            <a:off x="9141393" y="3429000"/>
            <a:ext cx="3050607" cy="3429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9" name="Google Shape;329;p41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30" name="Google Shape;330;p41"/>
          <p:cNvSpPr txBox="1">
            <a:spLocks noGrp="1"/>
          </p:cNvSpPr>
          <p:nvPr>
            <p:ph type="body" idx="1"/>
          </p:nvPr>
        </p:nvSpPr>
        <p:spPr>
          <a:xfrm>
            <a:off x="500063" y="2523689"/>
            <a:ext cx="5056675" cy="33294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4pPr>
            <a:lvl5pPr marL="2286000" lvl="4" indent="-2984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1" name="Google Shape;331;p41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2" name="Google Shape;332;p41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33" name="Google Shape;333;p41"/>
          <p:cNvSpPr txBox="1">
            <a:spLocks noGrp="1"/>
          </p:cNvSpPr>
          <p:nvPr>
            <p:ph type="body" idx="2"/>
          </p:nvPr>
        </p:nvSpPr>
        <p:spPr>
          <a:xfrm>
            <a:off x="6443361" y="2144693"/>
            <a:ext cx="2355884" cy="5997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228600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>
                <a:solidFill>
                  <a:schemeClr val="lt1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4" name="Google Shape;334;p41"/>
          <p:cNvSpPr txBox="1">
            <a:spLocks noGrp="1"/>
          </p:cNvSpPr>
          <p:nvPr>
            <p:ph type="body" idx="3"/>
          </p:nvPr>
        </p:nvSpPr>
        <p:spPr>
          <a:xfrm>
            <a:off x="6443361" y="5395158"/>
            <a:ext cx="2355884" cy="5997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1pPr>
            <a:lvl2pPr marL="914400" lvl="1" indent="-228600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5" name="Google Shape;335;p41"/>
          <p:cNvSpPr txBox="1">
            <a:spLocks noGrp="1"/>
          </p:cNvSpPr>
          <p:nvPr>
            <p:ph type="body" idx="4"/>
          </p:nvPr>
        </p:nvSpPr>
        <p:spPr>
          <a:xfrm>
            <a:off x="9488754" y="2144693"/>
            <a:ext cx="2355884" cy="5997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228600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>
                <a:solidFill>
                  <a:schemeClr val="lt1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6" name="Google Shape;336;p41"/>
          <p:cNvSpPr txBox="1">
            <a:spLocks noGrp="1"/>
          </p:cNvSpPr>
          <p:nvPr>
            <p:ph type="body" idx="5"/>
          </p:nvPr>
        </p:nvSpPr>
        <p:spPr>
          <a:xfrm>
            <a:off x="9488754" y="5395158"/>
            <a:ext cx="2355884" cy="5997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228600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>
                <a:solidFill>
                  <a:schemeClr val="lt1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7" name="Google Shape;337;p41"/>
          <p:cNvSpPr txBox="1">
            <a:spLocks noGrp="1"/>
          </p:cNvSpPr>
          <p:nvPr>
            <p:ph type="body" idx="6"/>
          </p:nvPr>
        </p:nvSpPr>
        <p:spPr>
          <a:xfrm>
            <a:off x="6801042" y="466344"/>
            <a:ext cx="1640752" cy="1495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8" name="Google Shape;338;p41"/>
          <p:cNvSpPr txBox="1">
            <a:spLocks noGrp="1"/>
          </p:cNvSpPr>
          <p:nvPr>
            <p:ph type="body" idx="7"/>
          </p:nvPr>
        </p:nvSpPr>
        <p:spPr>
          <a:xfrm>
            <a:off x="9851649" y="466344"/>
            <a:ext cx="1640752" cy="1495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9" name="Google Shape;339;p41"/>
          <p:cNvSpPr txBox="1">
            <a:spLocks noGrp="1"/>
          </p:cNvSpPr>
          <p:nvPr>
            <p:ph type="body" idx="8"/>
          </p:nvPr>
        </p:nvSpPr>
        <p:spPr>
          <a:xfrm>
            <a:off x="6801042" y="3716809"/>
            <a:ext cx="1640752" cy="1495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0" name="Google Shape;340;p41"/>
          <p:cNvSpPr txBox="1">
            <a:spLocks noGrp="1"/>
          </p:cNvSpPr>
          <p:nvPr>
            <p:ph type="body" idx="9"/>
          </p:nvPr>
        </p:nvSpPr>
        <p:spPr>
          <a:xfrm>
            <a:off x="9851649" y="3716809"/>
            <a:ext cx="1640752" cy="1495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3515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3F9B186-B379-43C9-BEFE-1C3220F80B34}"/>
              </a:ext>
            </a:extLst>
          </p:cNvPr>
          <p:cNvSpPr/>
          <p:nvPr/>
        </p:nvSpPr>
        <p:spPr>
          <a:xfrm>
            <a:off x="0" y="5598000"/>
            <a:ext cx="6096000" cy="126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9" y="140677"/>
            <a:ext cx="5454650" cy="2453661"/>
          </a:xfrm>
        </p:spPr>
        <p:txBody>
          <a:bodyPr anchor="b"/>
          <a:lstStyle>
            <a:lvl1pPr algn="l">
              <a:lnSpc>
                <a:spcPct val="90000"/>
              </a:lnSpc>
              <a:defRPr sz="5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3022209"/>
            <a:ext cx="4086542" cy="2010506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15" name="asurion logo">
            <a:extLst>
              <a:ext uri="{FF2B5EF4-FFF2-40B4-BE49-F238E27FC236}">
                <a16:creationId xmlns:a16="http://schemas.microsoft.com/office/drawing/2014/main" id="{742C3EE8-5E66-4064-AD77-262ED2AF10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0" y="5995713"/>
            <a:ext cx="1527969" cy="354615"/>
            <a:chOff x="316" y="3952"/>
            <a:chExt cx="586" cy="136"/>
          </a:xfrm>
          <a:solidFill>
            <a:schemeClr val="bg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9EF3FF97-F9E4-4229-93B3-D336E320D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9D763D80-7D31-4C23-92B5-7AA5C7093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D0697A47-C99B-4053-ADFB-D711F85AE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B1BCB078-E3E2-4D42-8199-4874325579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961A3D60-6C30-4644-91DF-BEEC5109B1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F348E325-407C-441C-B197-E60FC5A68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9F368039-5BAA-412B-A0CF-A7E83F9606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975679-7E40-4963-9C83-A613C95AA4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99238" y="6012655"/>
            <a:ext cx="3435350" cy="531812"/>
          </a:xfrm>
        </p:spPr>
        <p:txBody>
          <a:bodyPr anchor="ctr" anchorCtr="0"/>
          <a:lstStyle>
            <a:lvl1pPr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Presenter Name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7D42A3C6-0F61-41F7-B4CB-28E14C8D71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60000" y="6012655"/>
            <a:ext cx="1534575" cy="531812"/>
          </a:xfrm>
        </p:spPr>
        <p:txBody>
          <a:bodyPr anchor="ctr" anchorCtr="0"/>
          <a:lstStyle>
            <a:lvl1pPr algn="r"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January 01, 2020</a:t>
            </a:r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885787FB-3228-2D4E-9952-0595A3D50DC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95" y="0"/>
            <a:ext cx="6099048" cy="6858000"/>
          </a:xfrm>
          <a:noFill/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2070423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053720D-9F4D-4684-9327-5523A748B8A3}"/>
              </a:ext>
            </a:extLst>
          </p:cNvPr>
          <p:cNvCxnSpPr/>
          <p:nvPr/>
        </p:nvCxnSpPr>
        <p:spPr>
          <a:xfrm>
            <a:off x="500062" y="4316231"/>
            <a:ext cx="5472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BDE24C3-99CC-479E-BF50-328B4BB36E5D}"/>
              </a:ext>
            </a:extLst>
          </p:cNvPr>
          <p:cNvCxnSpPr/>
          <p:nvPr/>
        </p:nvCxnSpPr>
        <p:spPr>
          <a:xfrm>
            <a:off x="6223001" y="4316231"/>
            <a:ext cx="5472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567A20FC-53DE-40AE-9086-6CA177CE7A0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0062" y="1788962"/>
            <a:ext cx="5472000" cy="234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44F5ED6C-5729-4BCA-B641-0DE3EA8059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23001" y="1788962"/>
            <a:ext cx="5472000" cy="234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D5707C-19B8-4344-919E-79F1D3BD71A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6308FA-1900-4A15-B816-41EE190CD43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23BD6D-CC29-4E45-990E-0D516E8F9C2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0063" y="4419255"/>
            <a:ext cx="5471999" cy="14624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1DABEC5-ADD1-4364-9B7B-AEB94D1E077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23001" y="4419255"/>
            <a:ext cx="5471999" cy="14624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841270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, Content and Quad" preserve="1">
  <p:cSld name="1_Title, Content and Quad">
    <p:spTree>
      <p:nvGrpSpPr>
        <p:cNvPr id="1" name="Shape 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" name="Google Shape;342;p42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43" name="Google Shape;343;p42"/>
          <p:cNvSpPr txBox="1">
            <a:spLocks noGrp="1"/>
          </p:cNvSpPr>
          <p:nvPr>
            <p:ph type="body" idx="1"/>
          </p:nvPr>
        </p:nvSpPr>
        <p:spPr>
          <a:xfrm>
            <a:off x="500063" y="2523689"/>
            <a:ext cx="5056675" cy="33294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4pPr>
            <a:lvl5pPr marL="2286000" lvl="4" indent="-2984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4" name="Google Shape;344;p42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5" name="Google Shape;345;p42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46" name="Google Shape;346;p42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3044825" cy="342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47" name="Google Shape;347;p42"/>
          <p:cNvSpPr>
            <a:spLocks noGrp="1"/>
          </p:cNvSpPr>
          <p:nvPr>
            <p:ph type="pic" idx="3"/>
          </p:nvPr>
        </p:nvSpPr>
        <p:spPr>
          <a:xfrm>
            <a:off x="9147175" y="0"/>
            <a:ext cx="3044825" cy="342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48" name="Google Shape;348;p42"/>
          <p:cNvSpPr>
            <a:spLocks noGrp="1"/>
          </p:cNvSpPr>
          <p:nvPr>
            <p:ph type="pic" idx="4"/>
          </p:nvPr>
        </p:nvSpPr>
        <p:spPr>
          <a:xfrm>
            <a:off x="6096000" y="3429000"/>
            <a:ext cx="3044825" cy="342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49" name="Google Shape;349;p42"/>
          <p:cNvSpPr>
            <a:spLocks noGrp="1"/>
          </p:cNvSpPr>
          <p:nvPr>
            <p:ph type="pic" idx="5"/>
          </p:nvPr>
        </p:nvSpPr>
        <p:spPr>
          <a:xfrm>
            <a:off x="9147175" y="3429000"/>
            <a:ext cx="3044825" cy="342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856244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Dark" preserve="1">
  <p:cSld name="Title Only Dark">
    <p:bg>
      <p:bgPr>
        <a:solidFill>
          <a:schemeClr val="dk1"/>
        </a:solidFill>
        <a:effectLst/>
      </p:bgPr>
    </p:bg>
    <p:spTree>
      <p:nvGrpSpPr>
        <p:cNvPr id="1" name="Shape 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5" name="Google Shape;355;p44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56" name="Google Shape;356;p44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7" name="Google Shape;357;p44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62999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 with iPhones" preserve="1">
  <p:cSld name="Three Content with iPhones">
    <p:spTree>
      <p:nvGrpSpPr>
        <p:cNvPr id="1" name="Shape 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2" name="Google Shape;362;p46" descr="A picture containing monitor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31914" y="1095375"/>
            <a:ext cx="2962122" cy="4536000"/>
          </a:xfrm>
          <a:prstGeom prst="rect">
            <a:avLst/>
          </a:prstGeom>
          <a:noFill/>
          <a:ln>
            <a:noFill/>
          </a:ln>
        </p:spPr>
      </p:pic>
      <p:sp>
        <p:nvSpPr>
          <p:cNvPr id="363" name="Google Shape;363;p46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64" name="Google Shape;364;p46"/>
          <p:cNvSpPr txBox="1">
            <a:spLocks noGrp="1"/>
          </p:cNvSpPr>
          <p:nvPr>
            <p:ph type="body" idx="1"/>
          </p:nvPr>
        </p:nvSpPr>
        <p:spPr>
          <a:xfrm>
            <a:off x="500064" y="5288239"/>
            <a:ext cx="3600000" cy="7830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5" name="Google Shape;365;p46"/>
          <p:cNvSpPr txBox="1">
            <a:spLocks noGrp="1"/>
          </p:cNvSpPr>
          <p:nvPr>
            <p:ph type="body" idx="2"/>
          </p:nvPr>
        </p:nvSpPr>
        <p:spPr>
          <a:xfrm>
            <a:off x="4314826" y="5288239"/>
            <a:ext cx="3600000" cy="7830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6" name="Google Shape;366;p46"/>
          <p:cNvSpPr txBox="1">
            <a:spLocks noGrp="1"/>
          </p:cNvSpPr>
          <p:nvPr>
            <p:ph type="body" idx="3"/>
          </p:nvPr>
        </p:nvSpPr>
        <p:spPr>
          <a:xfrm>
            <a:off x="8129588" y="5288239"/>
            <a:ext cx="3600000" cy="7830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7" name="Google Shape;367;p46"/>
          <p:cNvSpPr>
            <a:spLocks noGrp="1"/>
          </p:cNvSpPr>
          <p:nvPr>
            <p:ph type="pic" idx="4"/>
          </p:nvPr>
        </p:nvSpPr>
        <p:spPr>
          <a:xfrm>
            <a:off x="1465109" y="1810291"/>
            <a:ext cx="1452882" cy="308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68" name="Google Shape;368;p46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9" name="Google Shape;369;p46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370" name="Google Shape;370;p46" descr="A picture containing monitor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583824" y="1095375"/>
            <a:ext cx="2962122" cy="4536000"/>
          </a:xfrm>
          <a:prstGeom prst="rect">
            <a:avLst/>
          </a:prstGeom>
          <a:noFill/>
          <a:ln>
            <a:noFill/>
          </a:ln>
        </p:spPr>
      </p:pic>
      <p:sp>
        <p:nvSpPr>
          <p:cNvPr id="371" name="Google Shape;371;p46"/>
          <p:cNvSpPr>
            <a:spLocks noGrp="1"/>
          </p:cNvSpPr>
          <p:nvPr>
            <p:ph type="pic" idx="5"/>
          </p:nvPr>
        </p:nvSpPr>
        <p:spPr>
          <a:xfrm>
            <a:off x="5317019" y="1810291"/>
            <a:ext cx="1452882" cy="308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pic>
        <p:nvPicPr>
          <p:cNvPr id="372" name="Google Shape;372;p46" descr="A picture containing monitor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447164" y="1095375"/>
            <a:ext cx="2962122" cy="4536000"/>
          </a:xfrm>
          <a:prstGeom prst="rect">
            <a:avLst/>
          </a:prstGeom>
          <a:noFill/>
          <a:ln>
            <a:noFill/>
          </a:ln>
        </p:spPr>
      </p:pic>
      <p:sp>
        <p:nvSpPr>
          <p:cNvPr id="373" name="Google Shape;373;p46"/>
          <p:cNvSpPr>
            <a:spLocks noGrp="1"/>
          </p:cNvSpPr>
          <p:nvPr>
            <p:ph type="pic" idx="6"/>
          </p:nvPr>
        </p:nvSpPr>
        <p:spPr>
          <a:xfrm>
            <a:off x="9180359" y="1810291"/>
            <a:ext cx="1452882" cy="308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348389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hree Content with iPhones" preserve="1">
  <p:cSld name="1_Three Content with iPhones">
    <p:spTree>
      <p:nvGrpSpPr>
        <p:cNvPr id="1" name="Shape 3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5" name="Google Shape;375;p47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76" name="Google Shape;376;p47"/>
          <p:cNvSpPr txBox="1">
            <a:spLocks noGrp="1"/>
          </p:cNvSpPr>
          <p:nvPr>
            <p:ph type="body" idx="1"/>
          </p:nvPr>
        </p:nvSpPr>
        <p:spPr>
          <a:xfrm>
            <a:off x="500064" y="5288239"/>
            <a:ext cx="3600000" cy="7830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7" name="Google Shape;377;p47"/>
          <p:cNvSpPr txBox="1">
            <a:spLocks noGrp="1"/>
          </p:cNvSpPr>
          <p:nvPr>
            <p:ph type="body" idx="2"/>
          </p:nvPr>
        </p:nvSpPr>
        <p:spPr>
          <a:xfrm>
            <a:off x="4314826" y="5288239"/>
            <a:ext cx="3600000" cy="7830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8" name="Google Shape;378;p47"/>
          <p:cNvSpPr txBox="1">
            <a:spLocks noGrp="1"/>
          </p:cNvSpPr>
          <p:nvPr>
            <p:ph type="body" idx="3"/>
          </p:nvPr>
        </p:nvSpPr>
        <p:spPr>
          <a:xfrm>
            <a:off x="8129588" y="5288239"/>
            <a:ext cx="3600000" cy="7830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9" name="Google Shape;379;p47"/>
          <p:cNvSpPr>
            <a:spLocks noGrp="1"/>
          </p:cNvSpPr>
          <p:nvPr>
            <p:ph type="pic" idx="4"/>
          </p:nvPr>
        </p:nvSpPr>
        <p:spPr>
          <a:xfrm>
            <a:off x="1465109" y="1810291"/>
            <a:ext cx="1452882" cy="308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80" name="Google Shape;380;p47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1" name="Google Shape;381;p47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82" name="Google Shape;382;p47"/>
          <p:cNvSpPr>
            <a:spLocks noGrp="1"/>
          </p:cNvSpPr>
          <p:nvPr>
            <p:ph type="pic" idx="5"/>
          </p:nvPr>
        </p:nvSpPr>
        <p:spPr>
          <a:xfrm>
            <a:off x="5317019" y="1810291"/>
            <a:ext cx="1452882" cy="308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83" name="Google Shape;383;p47"/>
          <p:cNvSpPr>
            <a:spLocks noGrp="1"/>
          </p:cNvSpPr>
          <p:nvPr>
            <p:ph type="pic" idx="6"/>
          </p:nvPr>
        </p:nvSpPr>
        <p:spPr>
          <a:xfrm>
            <a:off x="9180359" y="1810291"/>
            <a:ext cx="1452882" cy="308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050716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, Content and iPhone 1" preserve="1">
  <p:cSld name="Title, Sub, Content and iPhone 1">
    <p:spTree>
      <p:nvGrpSpPr>
        <p:cNvPr id="1" name="Shape 3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5" name="Google Shape;385;p48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6" name="Google Shape;386;p48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87" name="Google Shape;387;p48"/>
          <p:cNvSpPr txBox="1">
            <a:spLocks noGrp="1"/>
          </p:cNvSpPr>
          <p:nvPr>
            <p:ph type="body" idx="1"/>
          </p:nvPr>
        </p:nvSpPr>
        <p:spPr>
          <a:xfrm>
            <a:off x="500063" y="2523689"/>
            <a:ext cx="5056675" cy="33294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4pPr>
            <a:lvl5pPr marL="2286000" lvl="4" indent="-2984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8" name="Google Shape;388;p48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9" name="Google Shape;389;p48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1pPr>
            <a:lvl2pPr marL="0" lvl="1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2pPr>
            <a:lvl3pPr marL="0" lvl="2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3pPr>
            <a:lvl4pPr marL="0" lvl="3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4pPr>
            <a:lvl5pPr marL="0" lvl="4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5pPr>
            <a:lvl6pPr marL="0" lvl="5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6pPr>
            <a:lvl7pPr marL="0" lvl="6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7pPr>
            <a:lvl8pPr marL="0" lvl="7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8pPr>
            <a:lvl9pPr marL="0" lvl="8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90" name="Google Shape;390;p48"/>
          <p:cNvSpPr txBox="1">
            <a:spLocks noGrp="1"/>
          </p:cNvSpPr>
          <p:nvPr>
            <p:ph type="body" idx="2"/>
          </p:nvPr>
        </p:nvSpPr>
        <p:spPr>
          <a:xfrm>
            <a:off x="500063" y="1481655"/>
            <a:ext cx="5056675" cy="786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91" name="Google Shape;391;p48" descr="A picture containing monitor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668825" y="-410658"/>
            <a:ext cx="5009044" cy="7670523"/>
          </a:xfrm>
          <a:prstGeom prst="rect">
            <a:avLst/>
          </a:prstGeom>
          <a:noFill/>
          <a:ln>
            <a:noFill/>
          </a:ln>
        </p:spPr>
      </p:pic>
      <p:sp>
        <p:nvSpPr>
          <p:cNvPr id="392" name="Google Shape;392;p48"/>
          <p:cNvSpPr>
            <a:spLocks noGrp="1"/>
          </p:cNvSpPr>
          <p:nvPr>
            <p:ph type="pic" idx="3"/>
          </p:nvPr>
        </p:nvSpPr>
        <p:spPr>
          <a:xfrm>
            <a:off x="7907261" y="791536"/>
            <a:ext cx="2456870" cy="522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680073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, Content and iPhone 2" preserve="1">
  <p:cSld name="Title, Sub, Content and iPhone 2">
    <p:spTree>
      <p:nvGrpSpPr>
        <p:cNvPr id="1" name="Shape 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" name="Google Shape;394;p49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5F4F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95" name="Google Shape;395;p49"/>
          <p:cNvPicPr preferRelativeResize="0"/>
          <p:nvPr/>
        </p:nvPicPr>
        <p:blipFill rotWithShape="1">
          <a:blip r:embed="rId2">
            <a:alphaModFix/>
          </a:blip>
          <a:srcRect b="5980"/>
          <a:stretch/>
        </p:blipFill>
        <p:spPr>
          <a:xfrm>
            <a:off x="5837153" y="18049"/>
            <a:ext cx="6528348" cy="6839951"/>
          </a:xfrm>
          <a:prstGeom prst="rect">
            <a:avLst/>
          </a:prstGeom>
          <a:noFill/>
          <a:ln>
            <a:noFill/>
          </a:ln>
        </p:spPr>
      </p:pic>
      <p:sp>
        <p:nvSpPr>
          <p:cNvPr id="396" name="Google Shape;396;p49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97" name="Google Shape;397;p49"/>
          <p:cNvSpPr txBox="1">
            <a:spLocks noGrp="1"/>
          </p:cNvSpPr>
          <p:nvPr>
            <p:ph type="body" idx="1"/>
          </p:nvPr>
        </p:nvSpPr>
        <p:spPr>
          <a:xfrm>
            <a:off x="500063" y="2523689"/>
            <a:ext cx="5056675" cy="33294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4pPr>
            <a:lvl5pPr marL="2286000" lvl="4" indent="-2984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8" name="Google Shape;398;p49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9" name="Google Shape;399;p49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1pPr>
            <a:lvl2pPr marL="0" lvl="1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2pPr>
            <a:lvl3pPr marL="0" lvl="2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3pPr>
            <a:lvl4pPr marL="0" lvl="3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4pPr>
            <a:lvl5pPr marL="0" lvl="4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5pPr>
            <a:lvl6pPr marL="0" lvl="5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6pPr>
            <a:lvl7pPr marL="0" lvl="6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7pPr>
            <a:lvl8pPr marL="0" lvl="7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8pPr>
            <a:lvl9pPr marL="0" lvl="8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00" name="Google Shape;400;p49"/>
          <p:cNvSpPr txBox="1">
            <a:spLocks noGrp="1"/>
          </p:cNvSpPr>
          <p:nvPr>
            <p:ph type="body" idx="2"/>
          </p:nvPr>
        </p:nvSpPr>
        <p:spPr>
          <a:xfrm>
            <a:off x="500063" y="1481655"/>
            <a:ext cx="5056675" cy="786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1" name="Google Shape;401;p49"/>
          <p:cNvSpPr>
            <a:spLocks noGrp="1"/>
          </p:cNvSpPr>
          <p:nvPr>
            <p:ph type="pic" idx="3"/>
          </p:nvPr>
        </p:nvSpPr>
        <p:spPr>
          <a:xfrm>
            <a:off x="8005554" y="872975"/>
            <a:ext cx="2456870" cy="52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690130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arge Quote with Image" preserve="1">
  <p:cSld name="Large Quote with Image">
    <p:bg>
      <p:bgPr>
        <a:solidFill>
          <a:schemeClr val="accent2"/>
        </a:solidFill>
        <a:effectLst/>
      </p:bgPr>
    </p:bg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p50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04" name="Google Shape;404;p50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5" name="Google Shape;405;p50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06" name="Google Shape;406;p50"/>
          <p:cNvSpPr txBox="1">
            <a:spLocks noGrp="1"/>
          </p:cNvSpPr>
          <p:nvPr>
            <p:ph type="body" idx="1"/>
          </p:nvPr>
        </p:nvSpPr>
        <p:spPr>
          <a:xfrm>
            <a:off x="438912" y="502920"/>
            <a:ext cx="5592445" cy="5378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200" b="0"/>
            </a:lvl1pPr>
            <a:lvl2pPr marL="914400" lvl="1" indent="-317500" algn="l">
              <a:lnSpc>
                <a:spcPct val="100000"/>
              </a:lnSpc>
              <a:spcBef>
                <a:spcPts val="42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―"/>
              <a:defRPr/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/>
            </a:lvl4pPr>
            <a:lvl5pPr marL="2286000" lvl="4" indent="-2984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07" name="Google Shape;407;p50"/>
          <p:cNvGrpSpPr/>
          <p:nvPr/>
        </p:nvGrpSpPr>
        <p:grpSpPr>
          <a:xfrm>
            <a:off x="504031" y="6390186"/>
            <a:ext cx="918000" cy="213052"/>
            <a:chOff x="316" y="3952"/>
            <a:chExt cx="586" cy="136"/>
          </a:xfrm>
        </p:grpSpPr>
        <p:sp>
          <p:nvSpPr>
            <p:cNvPr id="408" name="Google Shape;408;p50"/>
            <p:cNvSpPr/>
            <p:nvPr/>
          </p:nvSpPr>
          <p:spPr>
            <a:xfrm>
              <a:off x="428" y="3990"/>
              <a:ext cx="66" cy="98"/>
            </a:xfrm>
            <a:custGeom>
              <a:avLst/>
              <a:gdLst/>
              <a:ahLst/>
              <a:cxnLst/>
              <a:rect l="l" t="t" r="r" b="b"/>
              <a:pathLst>
                <a:path w="2176" h="3230" extrusionOk="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9" name="Google Shape;409;p50"/>
            <p:cNvSpPr/>
            <p:nvPr/>
          </p:nvSpPr>
          <p:spPr>
            <a:xfrm>
              <a:off x="505" y="3991"/>
              <a:ext cx="85" cy="97"/>
            </a:xfrm>
            <a:custGeom>
              <a:avLst/>
              <a:gdLst/>
              <a:ahLst/>
              <a:cxnLst/>
              <a:rect l="l" t="t" r="r" b="b"/>
              <a:pathLst>
                <a:path w="2769" h="3192" extrusionOk="0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0" name="Google Shape;410;p50"/>
            <p:cNvSpPr/>
            <p:nvPr/>
          </p:nvSpPr>
          <p:spPr>
            <a:xfrm>
              <a:off x="608" y="3990"/>
              <a:ext cx="46" cy="97"/>
            </a:xfrm>
            <a:custGeom>
              <a:avLst/>
              <a:gdLst/>
              <a:ahLst/>
              <a:cxnLst/>
              <a:rect l="l" t="t" r="r" b="b"/>
              <a:pathLst>
                <a:path w="1508" h="3192" extrusionOk="0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1" name="Google Shape;411;p50"/>
            <p:cNvSpPr/>
            <p:nvPr/>
          </p:nvSpPr>
          <p:spPr>
            <a:xfrm>
              <a:off x="664" y="3952"/>
              <a:ext cx="28" cy="135"/>
            </a:xfrm>
            <a:custGeom>
              <a:avLst/>
              <a:gdLst/>
              <a:ahLst/>
              <a:cxnLst/>
              <a:rect l="l" t="t" r="r" b="b"/>
              <a:pathLst>
                <a:path w="934" h="4454" extrusionOk="0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2" name="Google Shape;412;p50"/>
            <p:cNvSpPr/>
            <p:nvPr/>
          </p:nvSpPr>
          <p:spPr>
            <a:xfrm>
              <a:off x="702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1" h="3230" extrusionOk="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3" name="Google Shape;413;p50"/>
            <p:cNvSpPr/>
            <p:nvPr/>
          </p:nvSpPr>
          <p:spPr>
            <a:xfrm>
              <a:off x="814" y="3990"/>
              <a:ext cx="88" cy="97"/>
            </a:xfrm>
            <a:custGeom>
              <a:avLst/>
              <a:gdLst/>
              <a:ahLst/>
              <a:cxnLst/>
              <a:rect l="l" t="t" r="r" b="b"/>
              <a:pathLst>
                <a:path w="2893" h="3211" extrusionOk="0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4" name="Google Shape;414;p50"/>
            <p:cNvSpPr/>
            <p:nvPr/>
          </p:nvSpPr>
          <p:spPr>
            <a:xfrm>
              <a:off x="316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0" h="3230" extrusionOk="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36605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rge Quote with Illustration" preserve="1">
  <p:cSld name="Large Quote with Illustration">
    <p:spTree>
      <p:nvGrpSpPr>
        <p:cNvPr id="1" name="Shape 4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6" name="Google Shape;416;p51"/>
          <p:cNvSpPr>
            <a:spLocks noGrp="1"/>
          </p:cNvSpPr>
          <p:nvPr>
            <p:ph type="pic" idx="2"/>
          </p:nvPr>
        </p:nvSpPr>
        <p:spPr>
          <a:xfrm>
            <a:off x="6343650" y="0"/>
            <a:ext cx="584835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17" name="Google Shape;417;p51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8" name="Google Shape;418;p51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19" name="Google Shape;419;p51"/>
          <p:cNvSpPr txBox="1">
            <a:spLocks noGrp="1"/>
          </p:cNvSpPr>
          <p:nvPr>
            <p:ph type="body" idx="1"/>
          </p:nvPr>
        </p:nvSpPr>
        <p:spPr>
          <a:xfrm>
            <a:off x="438912" y="502920"/>
            <a:ext cx="5592445" cy="5378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 b="0"/>
            </a:lvl1pPr>
            <a:lvl2pPr marL="914400" lvl="1" indent="-317500" algn="l">
              <a:lnSpc>
                <a:spcPct val="100000"/>
              </a:lnSpc>
              <a:spcBef>
                <a:spcPts val="4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―"/>
              <a:defRPr/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4pPr>
            <a:lvl5pPr marL="2286000" lvl="4" indent="-2984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2211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rge Text Split" preserve="1">
  <p:cSld name="Large Text Split">
    <p:spTree>
      <p:nvGrpSpPr>
        <p:cNvPr id="1" name="Shape 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1" name="Google Shape;421;p52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2" name="Google Shape;422;p52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5056632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23" name="Google Shape;423;p52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4" name="Google Shape;424;p52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25" name="Google Shape;425;p52"/>
          <p:cNvSpPr txBox="1">
            <a:spLocks noGrp="1"/>
          </p:cNvSpPr>
          <p:nvPr>
            <p:ph type="body" idx="1"/>
          </p:nvPr>
        </p:nvSpPr>
        <p:spPr>
          <a:xfrm>
            <a:off x="500063" y="2281373"/>
            <a:ext cx="5095874" cy="923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None/>
              <a:defRPr sz="6000" b="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6" name="Google Shape;426;p52"/>
          <p:cNvSpPr txBox="1">
            <a:spLocks noGrp="1"/>
          </p:cNvSpPr>
          <p:nvPr>
            <p:ph type="body" idx="2"/>
          </p:nvPr>
        </p:nvSpPr>
        <p:spPr>
          <a:xfrm>
            <a:off x="500064" y="3257439"/>
            <a:ext cx="5095874" cy="14454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14303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rge Text No Title" preserve="1">
  <p:cSld name="Large Text No Title">
    <p:bg>
      <p:bgPr>
        <a:solidFill>
          <a:schemeClr val="accent1"/>
        </a:solidFill>
        <a:effectLst/>
      </p:bgPr>
    </p:bg>
    <p:spTree>
      <p:nvGrpSpPr>
        <p:cNvPr id="1" name="Shape 4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8" name="Google Shape;428;p53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9" name="Google Shape;429;p53"/>
          <p:cNvSpPr txBox="1">
            <a:spLocks noGrp="1"/>
          </p:cNvSpPr>
          <p:nvPr>
            <p:ph type="title"/>
          </p:nvPr>
        </p:nvSpPr>
        <p:spPr>
          <a:xfrm>
            <a:off x="500063" y="804864"/>
            <a:ext cx="5056632" cy="48222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Font typeface="Calibri"/>
              <a:buNone/>
              <a:defRPr sz="8000"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30" name="Google Shape;430;p53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1" name="Google Shape;431;p53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32" name="Google Shape;432;p53"/>
          <p:cNvSpPr txBox="1">
            <a:spLocks noGrp="1"/>
          </p:cNvSpPr>
          <p:nvPr>
            <p:ph type="body" idx="1"/>
          </p:nvPr>
        </p:nvSpPr>
        <p:spPr>
          <a:xfrm>
            <a:off x="6597748" y="1387172"/>
            <a:ext cx="5094189" cy="36575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 b="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3044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mag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053720D-9F4D-4684-9327-5523A748B8A3}"/>
              </a:ext>
            </a:extLst>
          </p:cNvPr>
          <p:cNvCxnSpPr/>
          <p:nvPr/>
        </p:nvCxnSpPr>
        <p:spPr>
          <a:xfrm>
            <a:off x="500063" y="4316231"/>
            <a:ext cx="3562351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BDE24C3-99CC-479E-BF50-328B4BB36E5D}"/>
              </a:ext>
            </a:extLst>
          </p:cNvPr>
          <p:cNvCxnSpPr/>
          <p:nvPr/>
        </p:nvCxnSpPr>
        <p:spPr>
          <a:xfrm>
            <a:off x="4314825" y="4316231"/>
            <a:ext cx="3562351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307E561-4A26-4F9F-8A63-FD201FA0C0FD}"/>
              </a:ext>
            </a:extLst>
          </p:cNvPr>
          <p:cNvCxnSpPr/>
          <p:nvPr/>
        </p:nvCxnSpPr>
        <p:spPr>
          <a:xfrm>
            <a:off x="8129587" y="4316231"/>
            <a:ext cx="3562351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567A20FC-53DE-40AE-9086-6CA177CE7A0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0063" y="1788962"/>
            <a:ext cx="3562350" cy="234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44F5ED6C-5729-4BCA-B641-0DE3EA8059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14826" y="1788962"/>
            <a:ext cx="3562350" cy="234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669F2190-4991-4ABB-B5C1-8535467AFA5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29588" y="1788962"/>
            <a:ext cx="3562350" cy="234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22F74907-9901-41D8-B02E-D5156ACAC59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CD76F14-B7C1-4783-A9BB-4763BFA8875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D65ED8-5F56-41D5-B431-89361D00D6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0064" y="4419255"/>
            <a:ext cx="3600000" cy="14624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4799D4C9-22E1-4D31-B1A1-BDD184F710E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14826" y="4419255"/>
            <a:ext cx="3600000" cy="14624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1E8CE649-5034-45B6-93BA-28668391D8E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29589" y="4419255"/>
            <a:ext cx="3600000" cy="14624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439484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ur Team Layouts" preserve="1">
  <p:cSld name="Our Team Layouts">
    <p:bg>
      <p:bgPr>
        <a:solidFill>
          <a:schemeClr val="dk1"/>
        </a:solidFill>
        <a:effectLst/>
      </p:bgPr>
    </p:bg>
    <p:spTree>
      <p:nvGrpSpPr>
        <p:cNvPr id="1" name="Shape 4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" name="Google Shape;434;p54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35" name="Google Shape;435;p54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6" name="Google Shape;436;p54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37" name="Google Shape;437;p54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500" b="0" i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MORE</a:t>
            </a:r>
            <a:br>
              <a:rPr lang="en-US" sz="11500" b="0" i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1500" b="0" i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LAYOUTS</a:t>
            </a:r>
            <a:endParaRPr/>
          </a:p>
        </p:txBody>
      </p:sp>
      <p:sp>
        <p:nvSpPr>
          <p:cNvPr id="438" name="Google Shape;438;p54"/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19419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ur Team - Hero" preserve="1">
  <p:cSld name="Our Team - Hero">
    <p:bg>
      <p:bgPr>
        <a:solidFill>
          <a:schemeClr val="lt1"/>
        </a:solidFill>
        <a:effectLst/>
      </p:bgPr>
    </p:bg>
    <p:spTree>
      <p:nvGrpSpPr>
        <p:cNvPr id="1" name="Shape 4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" name="Google Shape;440;p55"/>
          <p:cNvSpPr>
            <a:spLocks noGrp="1"/>
          </p:cNvSpPr>
          <p:nvPr>
            <p:ph type="pic" idx="2"/>
          </p:nvPr>
        </p:nvSpPr>
        <p:spPr>
          <a:xfrm>
            <a:off x="6343650" y="0"/>
            <a:ext cx="584835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41" name="Google Shape;441;p55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5272087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42" name="Google Shape;442;p55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3" name="Google Shape;443;p55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44" name="Google Shape;444;p55"/>
          <p:cNvSpPr txBox="1">
            <a:spLocks noGrp="1"/>
          </p:cNvSpPr>
          <p:nvPr>
            <p:ph type="body" idx="1"/>
          </p:nvPr>
        </p:nvSpPr>
        <p:spPr>
          <a:xfrm>
            <a:off x="500063" y="3091180"/>
            <a:ext cx="5272087" cy="2755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4pPr>
            <a:lvl5pPr marL="2286000" lvl="4" indent="-2984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5" name="Google Shape;445;p55"/>
          <p:cNvSpPr txBox="1">
            <a:spLocks noGrp="1"/>
          </p:cNvSpPr>
          <p:nvPr>
            <p:ph type="body" idx="3"/>
          </p:nvPr>
        </p:nvSpPr>
        <p:spPr>
          <a:xfrm>
            <a:off x="500063" y="2019945"/>
            <a:ext cx="5272087" cy="786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8154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ur Team - 4 People" preserve="1">
  <p:cSld name="Our Team - 4 People">
    <p:bg>
      <p:bgPr>
        <a:solidFill>
          <a:schemeClr val="lt1"/>
        </a:solidFill>
        <a:effectLst/>
      </p:bgPr>
    </p:bg>
    <p:spTree>
      <p:nvGrpSpPr>
        <p:cNvPr id="1" name="Shape 4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7" name="Google Shape;447;p56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48" name="Google Shape;448;p56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9" name="Google Shape;449;p56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50" name="Google Shape;450;p56"/>
          <p:cNvSpPr>
            <a:spLocks noGrp="1"/>
          </p:cNvSpPr>
          <p:nvPr>
            <p:ph type="pic" idx="2"/>
          </p:nvPr>
        </p:nvSpPr>
        <p:spPr>
          <a:xfrm>
            <a:off x="500062" y="2539729"/>
            <a:ext cx="2547937" cy="26710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51" name="Google Shape;451;p56"/>
          <p:cNvSpPr txBox="1">
            <a:spLocks noGrp="1"/>
          </p:cNvSpPr>
          <p:nvPr>
            <p:ph type="body" idx="1"/>
          </p:nvPr>
        </p:nvSpPr>
        <p:spPr>
          <a:xfrm>
            <a:off x="500063" y="5312999"/>
            <a:ext cx="2547936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2" name="Google Shape;452;p56"/>
          <p:cNvSpPr txBox="1">
            <a:spLocks noGrp="1"/>
          </p:cNvSpPr>
          <p:nvPr>
            <p:ph type="body" idx="3"/>
          </p:nvPr>
        </p:nvSpPr>
        <p:spPr>
          <a:xfrm>
            <a:off x="500063" y="1459594"/>
            <a:ext cx="5799137" cy="844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3" name="Google Shape;453;p56"/>
          <p:cNvSpPr>
            <a:spLocks noGrp="1"/>
          </p:cNvSpPr>
          <p:nvPr>
            <p:ph type="pic" idx="4"/>
          </p:nvPr>
        </p:nvSpPr>
        <p:spPr>
          <a:xfrm>
            <a:off x="3381374" y="2539729"/>
            <a:ext cx="2547937" cy="26710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54" name="Google Shape;454;p56"/>
          <p:cNvSpPr txBox="1">
            <a:spLocks noGrp="1"/>
          </p:cNvSpPr>
          <p:nvPr>
            <p:ph type="body" idx="5"/>
          </p:nvPr>
        </p:nvSpPr>
        <p:spPr>
          <a:xfrm>
            <a:off x="3381375" y="5312999"/>
            <a:ext cx="2547936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5" name="Google Shape;455;p56"/>
          <p:cNvSpPr>
            <a:spLocks noGrp="1"/>
          </p:cNvSpPr>
          <p:nvPr>
            <p:ph type="pic" idx="6"/>
          </p:nvPr>
        </p:nvSpPr>
        <p:spPr>
          <a:xfrm>
            <a:off x="6262686" y="2539729"/>
            <a:ext cx="2547937" cy="26710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56" name="Google Shape;456;p56"/>
          <p:cNvSpPr txBox="1">
            <a:spLocks noGrp="1"/>
          </p:cNvSpPr>
          <p:nvPr>
            <p:ph type="body" idx="7"/>
          </p:nvPr>
        </p:nvSpPr>
        <p:spPr>
          <a:xfrm>
            <a:off x="6262687" y="5312999"/>
            <a:ext cx="2547936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7" name="Google Shape;457;p56"/>
          <p:cNvSpPr>
            <a:spLocks noGrp="1"/>
          </p:cNvSpPr>
          <p:nvPr>
            <p:ph type="pic" idx="8"/>
          </p:nvPr>
        </p:nvSpPr>
        <p:spPr>
          <a:xfrm>
            <a:off x="9143999" y="2539729"/>
            <a:ext cx="2547937" cy="26710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58" name="Google Shape;458;p56"/>
          <p:cNvSpPr txBox="1">
            <a:spLocks noGrp="1"/>
          </p:cNvSpPr>
          <p:nvPr>
            <p:ph type="body" idx="9"/>
          </p:nvPr>
        </p:nvSpPr>
        <p:spPr>
          <a:xfrm>
            <a:off x="9144000" y="5312999"/>
            <a:ext cx="2547936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3142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ur Team - 10 People" preserve="1">
  <p:cSld name="Our Team - 10 People">
    <p:spTree>
      <p:nvGrpSpPr>
        <p:cNvPr id="1" name="Shape 4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" name="Google Shape;460;p57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61" name="Google Shape;461;p57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2" name="Google Shape;462;p57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63" name="Google Shape;463;p57"/>
          <p:cNvSpPr>
            <a:spLocks noGrp="1"/>
          </p:cNvSpPr>
          <p:nvPr>
            <p:ph type="pic" idx="2"/>
          </p:nvPr>
        </p:nvSpPr>
        <p:spPr>
          <a:xfrm>
            <a:off x="754063" y="1520826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64" name="Google Shape;464;p57"/>
          <p:cNvSpPr txBox="1">
            <a:spLocks noGrp="1"/>
          </p:cNvSpPr>
          <p:nvPr>
            <p:ph type="body" idx="1"/>
          </p:nvPr>
        </p:nvSpPr>
        <p:spPr>
          <a:xfrm>
            <a:off x="754063" y="3122612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5" name="Google Shape;465;p57"/>
          <p:cNvSpPr>
            <a:spLocks noGrp="1"/>
          </p:cNvSpPr>
          <p:nvPr>
            <p:ph type="pic" idx="3"/>
          </p:nvPr>
        </p:nvSpPr>
        <p:spPr>
          <a:xfrm>
            <a:off x="3040658" y="1520826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66" name="Google Shape;466;p57"/>
          <p:cNvSpPr txBox="1">
            <a:spLocks noGrp="1"/>
          </p:cNvSpPr>
          <p:nvPr>
            <p:ph type="body" idx="4"/>
          </p:nvPr>
        </p:nvSpPr>
        <p:spPr>
          <a:xfrm>
            <a:off x="3040658" y="3122612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7" name="Google Shape;467;p57"/>
          <p:cNvSpPr>
            <a:spLocks noGrp="1"/>
          </p:cNvSpPr>
          <p:nvPr>
            <p:ph type="pic" idx="5"/>
          </p:nvPr>
        </p:nvSpPr>
        <p:spPr>
          <a:xfrm>
            <a:off x="5327253" y="1520826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68" name="Google Shape;468;p57"/>
          <p:cNvSpPr txBox="1">
            <a:spLocks noGrp="1"/>
          </p:cNvSpPr>
          <p:nvPr>
            <p:ph type="body" idx="6"/>
          </p:nvPr>
        </p:nvSpPr>
        <p:spPr>
          <a:xfrm>
            <a:off x="5327253" y="3122612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9" name="Google Shape;469;p57"/>
          <p:cNvSpPr>
            <a:spLocks noGrp="1"/>
          </p:cNvSpPr>
          <p:nvPr>
            <p:ph type="pic" idx="7"/>
          </p:nvPr>
        </p:nvSpPr>
        <p:spPr>
          <a:xfrm>
            <a:off x="7613848" y="1520826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70" name="Google Shape;470;p57"/>
          <p:cNvSpPr txBox="1">
            <a:spLocks noGrp="1"/>
          </p:cNvSpPr>
          <p:nvPr>
            <p:ph type="body" idx="8"/>
          </p:nvPr>
        </p:nvSpPr>
        <p:spPr>
          <a:xfrm>
            <a:off x="7613848" y="3122612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1" name="Google Shape;471;p57"/>
          <p:cNvSpPr>
            <a:spLocks noGrp="1"/>
          </p:cNvSpPr>
          <p:nvPr>
            <p:ph type="pic" idx="9"/>
          </p:nvPr>
        </p:nvSpPr>
        <p:spPr>
          <a:xfrm>
            <a:off x="9900444" y="1520826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72" name="Google Shape;472;p57"/>
          <p:cNvSpPr txBox="1">
            <a:spLocks noGrp="1"/>
          </p:cNvSpPr>
          <p:nvPr>
            <p:ph type="body" idx="13"/>
          </p:nvPr>
        </p:nvSpPr>
        <p:spPr>
          <a:xfrm>
            <a:off x="9900444" y="3122612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3" name="Google Shape;473;p57"/>
          <p:cNvSpPr>
            <a:spLocks noGrp="1"/>
          </p:cNvSpPr>
          <p:nvPr>
            <p:ph type="pic" idx="14"/>
          </p:nvPr>
        </p:nvSpPr>
        <p:spPr>
          <a:xfrm>
            <a:off x="754063" y="3814083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74" name="Google Shape;474;p57"/>
          <p:cNvSpPr txBox="1">
            <a:spLocks noGrp="1"/>
          </p:cNvSpPr>
          <p:nvPr>
            <p:ph type="body" idx="15"/>
          </p:nvPr>
        </p:nvSpPr>
        <p:spPr>
          <a:xfrm>
            <a:off x="754063" y="5415869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5" name="Google Shape;475;p57"/>
          <p:cNvSpPr>
            <a:spLocks noGrp="1"/>
          </p:cNvSpPr>
          <p:nvPr>
            <p:ph type="pic" idx="16"/>
          </p:nvPr>
        </p:nvSpPr>
        <p:spPr>
          <a:xfrm>
            <a:off x="3040658" y="3814083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76" name="Google Shape;476;p57"/>
          <p:cNvSpPr txBox="1">
            <a:spLocks noGrp="1"/>
          </p:cNvSpPr>
          <p:nvPr>
            <p:ph type="body" idx="17"/>
          </p:nvPr>
        </p:nvSpPr>
        <p:spPr>
          <a:xfrm>
            <a:off x="3040658" y="5415869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7" name="Google Shape;477;p57"/>
          <p:cNvSpPr>
            <a:spLocks noGrp="1"/>
          </p:cNvSpPr>
          <p:nvPr>
            <p:ph type="pic" idx="18"/>
          </p:nvPr>
        </p:nvSpPr>
        <p:spPr>
          <a:xfrm>
            <a:off x="5327253" y="3814083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78" name="Google Shape;478;p57"/>
          <p:cNvSpPr txBox="1">
            <a:spLocks noGrp="1"/>
          </p:cNvSpPr>
          <p:nvPr>
            <p:ph type="body" idx="19"/>
          </p:nvPr>
        </p:nvSpPr>
        <p:spPr>
          <a:xfrm>
            <a:off x="5327253" y="5415869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9" name="Google Shape;479;p57"/>
          <p:cNvSpPr>
            <a:spLocks noGrp="1"/>
          </p:cNvSpPr>
          <p:nvPr>
            <p:ph type="pic" idx="20"/>
          </p:nvPr>
        </p:nvSpPr>
        <p:spPr>
          <a:xfrm>
            <a:off x="7613848" y="3814083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80" name="Google Shape;480;p57"/>
          <p:cNvSpPr txBox="1">
            <a:spLocks noGrp="1"/>
          </p:cNvSpPr>
          <p:nvPr>
            <p:ph type="body" idx="21"/>
          </p:nvPr>
        </p:nvSpPr>
        <p:spPr>
          <a:xfrm>
            <a:off x="7613848" y="5415869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1" name="Google Shape;481;p57"/>
          <p:cNvSpPr>
            <a:spLocks noGrp="1"/>
          </p:cNvSpPr>
          <p:nvPr>
            <p:ph type="pic" idx="22"/>
          </p:nvPr>
        </p:nvSpPr>
        <p:spPr>
          <a:xfrm>
            <a:off x="9900444" y="3814083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82" name="Google Shape;482;p57"/>
          <p:cNvSpPr txBox="1">
            <a:spLocks noGrp="1"/>
          </p:cNvSpPr>
          <p:nvPr>
            <p:ph type="body" idx="23"/>
          </p:nvPr>
        </p:nvSpPr>
        <p:spPr>
          <a:xfrm>
            <a:off x="9900444" y="5415869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7587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ur Team Dark - Hero" preserve="1">
  <p:cSld name="Our Team Dark - Hero">
    <p:bg>
      <p:bgPr>
        <a:solidFill>
          <a:schemeClr val="dk1"/>
        </a:solidFill>
        <a:effectLst/>
      </p:bgPr>
    </p:bg>
    <p:spTree>
      <p:nvGrpSpPr>
        <p:cNvPr id="1" name="Shape 4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4" name="Google Shape;484;p58"/>
          <p:cNvSpPr>
            <a:spLocks noGrp="1"/>
          </p:cNvSpPr>
          <p:nvPr>
            <p:ph type="pic" idx="2"/>
          </p:nvPr>
        </p:nvSpPr>
        <p:spPr>
          <a:xfrm>
            <a:off x="6343650" y="0"/>
            <a:ext cx="584835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85" name="Google Shape;485;p58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5272087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86" name="Google Shape;486;p58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7" name="Google Shape;487;p58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88" name="Google Shape;488;p58"/>
          <p:cNvSpPr txBox="1">
            <a:spLocks noGrp="1"/>
          </p:cNvSpPr>
          <p:nvPr>
            <p:ph type="body" idx="1"/>
          </p:nvPr>
        </p:nvSpPr>
        <p:spPr>
          <a:xfrm>
            <a:off x="500063" y="3091180"/>
            <a:ext cx="5272087" cy="2755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/>
            </a:lvl4pPr>
            <a:lvl5pPr marL="2286000" lvl="4" indent="-2984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9" name="Google Shape;489;p58"/>
          <p:cNvSpPr txBox="1">
            <a:spLocks noGrp="1"/>
          </p:cNvSpPr>
          <p:nvPr>
            <p:ph type="body" idx="3"/>
          </p:nvPr>
        </p:nvSpPr>
        <p:spPr>
          <a:xfrm>
            <a:off x="500063" y="2019945"/>
            <a:ext cx="5272087" cy="786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084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ur Team Dark - 4 People" preserve="1">
  <p:cSld name="Our Team Dark - 4 People">
    <p:bg>
      <p:bgPr>
        <a:solidFill>
          <a:schemeClr val="dk1"/>
        </a:solidFill>
        <a:effectLst/>
      </p:bgPr>
    </p:bg>
    <p:spTree>
      <p:nvGrpSpPr>
        <p:cNvPr id="1" name="Shape 4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" name="Google Shape;491;p59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92" name="Google Shape;492;p59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3" name="Google Shape;493;p59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94" name="Google Shape;494;p59"/>
          <p:cNvSpPr>
            <a:spLocks noGrp="1"/>
          </p:cNvSpPr>
          <p:nvPr>
            <p:ph type="pic" idx="2"/>
          </p:nvPr>
        </p:nvSpPr>
        <p:spPr>
          <a:xfrm>
            <a:off x="500062" y="2539729"/>
            <a:ext cx="2547937" cy="26710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95" name="Google Shape;495;p59"/>
          <p:cNvSpPr txBox="1">
            <a:spLocks noGrp="1"/>
          </p:cNvSpPr>
          <p:nvPr>
            <p:ph type="body" idx="1"/>
          </p:nvPr>
        </p:nvSpPr>
        <p:spPr>
          <a:xfrm>
            <a:off x="500063" y="5312999"/>
            <a:ext cx="2547936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6" name="Google Shape;496;p59"/>
          <p:cNvSpPr txBox="1">
            <a:spLocks noGrp="1"/>
          </p:cNvSpPr>
          <p:nvPr>
            <p:ph type="body" idx="3"/>
          </p:nvPr>
        </p:nvSpPr>
        <p:spPr>
          <a:xfrm>
            <a:off x="500063" y="1459594"/>
            <a:ext cx="5799137" cy="844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7" name="Google Shape;497;p59"/>
          <p:cNvSpPr>
            <a:spLocks noGrp="1"/>
          </p:cNvSpPr>
          <p:nvPr>
            <p:ph type="pic" idx="4"/>
          </p:nvPr>
        </p:nvSpPr>
        <p:spPr>
          <a:xfrm>
            <a:off x="3381374" y="2539729"/>
            <a:ext cx="2547937" cy="26710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98" name="Google Shape;498;p59"/>
          <p:cNvSpPr txBox="1">
            <a:spLocks noGrp="1"/>
          </p:cNvSpPr>
          <p:nvPr>
            <p:ph type="body" idx="5"/>
          </p:nvPr>
        </p:nvSpPr>
        <p:spPr>
          <a:xfrm>
            <a:off x="3381375" y="5312999"/>
            <a:ext cx="2547936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9" name="Google Shape;499;p59"/>
          <p:cNvSpPr>
            <a:spLocks noGrp="1"/>
          </p:cNvSpPr>
          <p:nvPr>
            <p:ph type="pic" idx="6"/>
          </p:nvPr>
        </p:nvSpPr>
        <p:spPr>
          <a:xfrm>
            <a:off x="6262686" y="2539729"/>
            <a:ext cx="2547937" cy="26710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500" name="Google Shape;500;p59"/>
          <p:cNvSpPr txBox="1">
            <a:spLocks noGrp="1"/>
          </p:cNvSpPr>
          <p:nvPr>
            <p:ph type="body" idx="7"/>
          </p:nvPr>
        </p:nvSpPr>
        <p:spPr>
          <a:xfrm>
            <a:off x="6262687" y="5312999"/>
            <a:ext cx="2547936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1" name="Google Shape;501;p59"/>
          <p:cNvSpPr>
            <a:spLocks noGrp="1"/>
          </p:cNvSpPr>
          <p:nvPr>
            <p:ph type="pic" idx="8"/>
          </p:nvPr>
        </p:nvSpPr>
        <p:spPr>
          <a:xfrm>
            <a:off x="9143999" y="2539729"/>
            <a:ext cx="2547937" cy="26710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502" name="Google Shape;502;p59"/>
          <p:cNvSpPr txBox="1">
            <a:spLocks noGrp="1"/>
          </p:cNvSpPr>
          <p:nvPr>
            <p:ph type="body" idx="9"/>
          </p:nvPr>
        </p:nvSpPr>
        <p:spPr>
          <a:xfrm>
            <a:off x="9144000" y="5312999"/>
            <a:ext cx="2547936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8332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ur Team Dark - 10 People" preserve="1">
  <p:cSld name="Our Team Dark - 10 People">
    <p:bg>
      <p:bgPr>
        <a:solidFill>
          <a:schemeClr val="dk1"/>
        </a:solidFill>
        <a:effectLst/>
      </p:bgPr>
    </p:bg>
    <p:spTree>
      <p:nvGrpSpPr>
        <p:cNvPr id="1" name="Shape 5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4" name="Google Shape;504;p60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05" name="Google Shape;505;p60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6" name="Google Shape;506;p60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07" name="Google Shape;507;p60"/>
          <p:cNvSpPr>
            <a:spLocks noGrp="1"/>
          </p:cNvSpPr>
          <p:nvPr>
            <p:ph type="pic" idx="2"/>
          </p:nvPr>
        </p:nvSpPr>
        <p:spPr>
          <a:xfrm>
            <a:off x="754063" y="1520826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508" name="Google Shape;508;p60"/>
          <p:cNvSpPr txBox="1">
            <a:spLocks noGrp="1"/>
          </p:cNvSpPr>
          <p:nvPr>
            <p:ph type="body" idx="1"/>
          </p:nvPr>
        </p:nvSpPr>
        <p:spPr>
          <a:xfrm>
            <a:off x="754063" y="3122612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9" name="Google Shape;509;p60"/>
          <p:cNvSpPr>
            <a:spLocks noGrp="1"/>
          </p:cNvSpPr>
          <p:nvPr>
            <p:ph type="pic" idx="3"/>
          </p:nvPr>
        </p:nvSpPr>
        <p:spPr>
          <a:xfrm>
            <a:off x="3040658" y="1520826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510" name="Google Shape;510;p60"/>
          <p:cNvSpPr txBox="1">
            <a:spLocks noGrp="1"/>
          </p:cNvSpPr>
          <p:nvPr>
            <p:ph type="body" idx="4"/>
          </p:nvPr>
        </p:nvSpPr>
        <p:spPr>
          <a:xfrm>
            <a:off x="3040658" y="3122612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1" name="Google Shape;511;p60"/>
          <p:cNvSpPr>
            <a:spLocks noGrp="1"/>
          </p:cNvSpPr>
          <p:nvPr>
            <p:ph type="pic" idx="5"/>
          </p:nvPr>
        </p:nvSpPr>
        <p:spPr>
          <a:xfrm>
            <a:off x="5327253" y="1520826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512" name="Google Shape;512;p60"/>
          <p:cNvSpPr txBox="1">
            <a:spLocks noGrp="1"/>
          </p:cNvSpPr>
          <p:nvPr>
            <p:ph type="body" idx="6"/>
          </p:nvPr>
        </p:nvSpPr>
        <p:spPr>
          <a:xfrm>
            <a:off x="5327253" y="3122612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3" name="Google Shape;513;p60"/>
          <p:cNvSpPr>
            <a:spLocks noGrp="1"/>
          </p:cNvSpPr>
          <p:nvPr>
            <p:ph type="pic" idx="7"/>
          </p:nvPr>
        </p:nvSpPr>
        <p:spPr>
          <a:xfrm>
            <a:off x="7613848" y="1520826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514" name="Google Shape;514;p60"/>
          <p:cNvSpPr txBox="1">
            <a:spLocks noGrp="1"/>
          </p:cNvSpPr>
          <p:nvPr>
            <p:ph type="body" idx="8"/>
          </p:nvPr>
        </p:nvSpPr>
        <p:spPr>
          <a:xfrm>
            <a:off x="7613848" y="3122612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5" name="Google Shape;515;p60"/>
          <p:cNvSpPr>
            <a:spLocks noGrp="1"/>
          </p:cNvSpPr>
          <p:nvPr>
            <p:ph type="pic" idx="9"/>
          </p:nvPr>
        </p:nvSpPr>
        <p:spPr>
          <a:xfrm>
            <a:off x="9900444" y="1520826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516" name="Google Shape;516;p60"/>
          <p:cNvSpPr txBox="1">
            <a:spLocks noGrp="1"/>
          </p:cNvSpPr>
          <p:nvPr>
            <p:ph type="body" idx="13"/>
          </p:nvPr>
        </p:nvSpPr>
        <p:spPr>
          <a:xfrm>
            <a:off x="9900444" y="3122612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7" name="Google Shape;517;p60"/>
          <p:cNvSpPr>
            <a:spLocks noGrp="1"/>
          </p:cNvSpPr>
          <p:nvPr>
            <p:ph type="pic" idx="14"/>
          </p:nvPr>
        </p:nvSpPr>
        <p:spPr>
          <a:xfrm>
            <a:off x="754063" y="3814083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518" name="Google Shape;518;p60"/>
          <p:cNvSpPr txBox="1">
            <a:spLocks noGrp="1"/>
          </p:cNvSpPr>
          <p:nvPr>
            <p:ph type="body" idx="15"/>
          </p:nvPr>
        </p:nvSpPr>
        <p:spPr>
          <a:xfrm>
            <a:off x="754063" y="5415869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9" name="Google Shape;519;p60"/>
          <p:cNvSpPr>
            <a:spLocks noGrp="1"/>
          </p:cNvSpPr>
          <p:nvPr>
            <p:ph type="pic" idx="16"/>
          </p:nvPr>
        </p:nvSpPr>
        <p:spPr>
          <a:xfrm>
            <a:off x="3040658" y="3814083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520" name="Google Shape;520;p60"/>
          <p:cNvSpPr txBox="1">
            <a:spLocks noGrp="1"/>
          </p:cNvSpPr>
          <p:nvPr>
            <p:ph type="body" idx="17"/>
          </p:nvPr>
        </p:nvSpPr>
        <p:spPr>
          <a:xfrm>
            <a:off x="3040658" y="5415869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1" name="Google Shape;521;p60"/>
          <p:cNvSpPr>
            <a:spLocks noGrp="1"/>
          </p:cNvSpPr>
          <p:nvPr>
            <p:ph type="pic" idx="18"/>
          </p:nvPr>
        </p:nvSpPr>
        <p:spPr>
          <a:xfrm>
            <a:off x="5327253" y="3814083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522" name="Google Shape;522;p60"/>
          <p:cNvSpPr txBox="1">
            <a:spLocks noGrp="1"/>
          </p:cNvSpPr>
          <p:nvPr>
            <p:ph type="body" idx="19"/>
          </p:nvPr>
        </p:nvSpPr>
        <p:spPr>
          <a:xfrm>
            <a:off x="5327253" y="5415869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3" name="Google Shape;523;p60"/>
          <p:cNvSpPr>
            <a:spLocks noGrp="1"/>
          </p:cNvSpPr>
          <p:nvPr>
            <p:ph type="pic" idx="20"/>
          </p:nvPr>
        </p:nvSpPr>
        <p:spPr>
          <a:xfrm>
            <a:off x="7613848" y="3814083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524" name="Google Shape;524;p60"/>
          <p:cNvSpPr txBox="1">
            <a:spLocks noGrp="1"/>
          </p:cNvSpPr>
          <p:nvPr>
            <p:ph type="body" idx="21"/>
          </p:nvPr>
        </p:nvSpPr>
        <p:spPr>
          <a:xfrm>
            <a:off x="7613848" y="5415869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5" name="Google Shape;525;p60"/>
          <p:cNvSpPr>
            <a:spLocks noGrp="1"/>
          </p:cNvSpPr>
          <p:nvPr>
            <p:ph type="pic" idx="22"/>
          </p:nvPr>
        </p:nvSpPr>
        <p:spPr>
          <a:xfrm>
            <a:off x="9900444" y="3814083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526" name="Google Shape;526;p60"/>
          <p:cNvSpPr txBox="1">
            <a:spLocks noGrp="1"/>
          </p:cNvSpPr>
          <p:nvPr>
            <p:ph type="body" idx="23"/>
          </p:nvPr>
        </p:nvSpPr>
        <p:spPr>
          <a:xfrm>
            <a:off x="9900444" y="5415869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6130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actoid layouts" preserve="1">
  <p:cSld name="Factoid layouts">
    <p:bg>
      <p:bgPr>
        <a:solidFill>
          <a:schemeClr val="dk1"/>
        </a:solidFill>
        <a:effectLst/>
      </p:bgPr>
    </p:bg>
    <p:spTree>
      <p:nvGrpSpPr>
        <p:cNvPr id="1" name="Shape 5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8" name="Google Shape;528;p61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29" name="Google Shape;529;p61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0" name="Google Shape;530;p61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31" name="Google Shape;531;p61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500" b="0" i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FACTOID</a:t>
            </a:r>
            <a:br>
              <a:rPr lang="en-US" sz="11500" b="0" i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1500" b="0" i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LAYOUTS</a:t>
            </a:r>
            <a:endParaRPr/>
          </a:p>
        </p:txBody>
      </p:sp>
      <p:sp>
        <p:nvSpPr>
          <p:cNvPr id="532" name="Google Shape;532;p61"/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52605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llustration with Factoid" preserve="1">
  <p:cSld name="Illustration with Factoid">
    <p:spTree>
      <p:nvGrpSpPr>
        <p:cNvPr id="1" name="Shape 5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4" name="Google Shape;534;p62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35" name="Google Shape;535;p62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6" name="Google Shape;536;p62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37" name="Google Shape;537;p62"/>
          <p:cNvSpPr txBox="1">
            <a:spLocks noGrp="1"/>
          </p:cNvSpPr>
          <p:nvPr>
            <p:ph type="body" idx="1"/>
          </p:nvPr>
        </p:nvSpPr>
        <p:spPr>
          <a:xfrm>
            <a:off x="4495799" y="2661861"/>
            <a:ext cx="5344954" cy="923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None/>
              <a:defRPr sz="6000" b="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8" name="Google Shape;538;p62"/>
          <p:cNvSpPr txBox="1">
            <a:spLocks noGrp="1"/>
          </p:cNvSpPr>
          <p:nvPr>
            <p:ph type="body" idx="2"/>
          </p:nvPr>
        </p:nvSpPr>
        <p:spPr>
          <a:xfrm>
            <a:off x="4495800" y="3637927"/>
            <a:ext cx="5344954" cy="11005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9" name="Google Shape;539;p62"/>
          <p:cNvSpPr txBox="1">
            <a:spLocks noGrp="1"/>
          </p:cNvSpPr>
          <p:nvPr>
            <p:ph type="body" idx="3"/>
          </p:nvPr>
        </p:nvSpPr>
        <p:spPr>
          <a:xfrm>
            <a:off x="2174489" y="2483443"/>
            <a:ext cx="2210344" cy="23545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306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actoid Split Dark" preserve="1">
  <p:cSld name="Factoid Split Dark">
    <p:bg>
      <p:bgPr>
        <a:solidFill>
          <a:schemeClr val="dk1"/>
        </a:solidFill>
        <a:effectLst/>
      </p:bgPr>
    </p:bg>
    <p:spTree>
      <p:nvGrpSpPr>
        <p:cNvPr id="1" name="Shape 5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" name="Google Shape;549;p64"/>
          <p:cNvSpPr/>
          <p:nvPr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0" name="Google Shape;550;p64"/>
          <p:cNvSpPr/>
          <p:nvPr/>
        </p:nvSpPr>
        <p:spPr>
          <a:xfrm>
            <a:off x="6096000" y="0"/>
            <a:ext cx="6096000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1" name="Google Shape;551;p64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5056632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52" name="Google Shape;552;p64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3" name="Google Shape;553;p64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54" name="Google Shape;554;p64"/>
          <p:cNvSpPr txBox="1">
            <a:spLocks noGrp="1"/>
          </p:cNvSpPr>
          <p:nvPr>
            <p:ph type="body" idx="1"/>
          </p:nvPr>
        </p:nvSpPr>
        <p:spPr>
          <a:xfrm>
            <a:off x="500064" y="2350522"/>
            <a:ext cx="5095874" cy="2254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5" name="Google Shape;555;p64"/>
          <p:cNvSpPr txBox="1">
            <a:spLocks noGrp="1"/>
          </p:cNvSpPr>
          <p:nvPr>
            <p:ph type="body" idx="2"/>
          </p:nvPr>
        </p:nvSpPr>
        <p:spPr>
          <a:xfrm>
            <a:off x="6235700" y="1235904"/>
            <a:ext cx="2863693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0"/>
              <a:buNone/>
              <a:defRPr sz="80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6" name="Google Shape;556;p64"/>
          <p:cNvSpPr txBox="1">
            <a:spLocks noGrp="1"/>
          </p:cNvSpPr>
          <p:nvPr>
            <p:ph type="body" idx="3"/>
          </p:nvPr>
        </p:nvSpPr>
        <p:spPr>
          <a:xfrm>
            <a:off x="9233204" y="1415428"/>
            <a:ext cx="2458733" cy="8371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7" name="Google Shape;557;p64"/>
          <p:cNvSpPr txBox="1">
            <a:spLocks noGrp="1"/>
          </p:cNvSpPr>
          <p:nvPr>
            <p:ph type="body" idx="4"/>
          </p:nvPr>
        </p:nvSpPr>
        <p:spPr>
          <a:xfrm>
            <a:off x="7667546" y="3801447"/>
            <a:ext cx="2937214" cy="20908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1855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22F74907-9901-41D8-B02E-D5156ACAC59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CD76F14-B7C1-4783-A9BB-4763BFA8875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86DF79B9-639E-4799-815D-476F130D30D5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xfrm>
            <a:off x="500063" y="1481655"/>
            <a:ext cx="5056675" cy="78676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24C50ECB-AA26-4399-9645-112A108CA439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500063" y="2658741"/>
            <a:ext cx="2635250" cy="2127572"/>
          </a:xfrm>
        </p:spPr>
        <p:txBody>
          <a:bodyPr/>
          <a:lstStyle/>
          <a:p>
            <a:r>
              <a:rPr lang="en-US"/>
              <a:t>Click icon to add chart</a:t>
            </a:r>
            <a:endParaRPr/>
          </a:p>
        </p:txBody>
      </p:sp>
      <p:sp>
        <p:nvSpPr>
          <p:cNvPr id="24" name="Chart Placeholder 4">
            <a:extLst>
              <a:ext uri="{FF2B5EF4-FFF2-40B4-BE49-F238E27FC236}">
                <a16:creationId xmlns:a16="http://schemas.microsoft.com/office/drawing/2014/main" id="{5F3EB2C3-AC8E-4242-A032-7D9830F6FEBA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3280586" y="2658741"/>
            <a:ext cx="2635250" cy="2127572"/>
          </a:xfrm>
        </p:spPr>
        <p:txBody>
          <a:bodyPr/>
          <a:lstStyle/>
          <a:p>
            <a:r>
              <a:rPr lang="en-US"/>
              <a:t>Click icon to add chart</a:t>
            </a:r>
            <a:endParaRPr/>
          </a:p>
        </p:txBody>
      </p:sp>
      <p:sp>
        <p:nvSpPr>
          <p:cNvPr id="26" name="Chart Placeholder 4">
            <a:extLst>
              <a:ext uri="{FF2B5EF4-FFF2-40B4-BE49-F238E27FC236}">
                <a16:creationId xmlns:a16="http://schemas.microsoft.com/office/drawing/2014/main" id="{766F0A22-4D5D-4D16-9178-1D5760AEA8C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089101" y="2658741"/>
            <a:ext cx="2635250" cy="2127572"/>
          </a:xfrm>
        </p:spPr>
        <p:txBody>
          <a:bodyPr/>
          <a:lstStyle/>
          <a:p>
            <a:r>
              <a:rPr lang="en-US"/>
              <a:t>Click icon to add chart</a:t>
            </a:r>
            <a:endParaRPr/>
          </a:p>
        </p:txBody>
      </p:sp>
      <p:sp>
        <p:nvSpPr>
          <p:cNvPr id="28" name="Chart Placeholder 4">
            <a:extLst>
              <a:ext uri="{FF2B5EF4-FFF2-40B4-BE49-F238E27FC236}">
                <a16:creationId xmlns:a16="http://schemas.microsoft.com/office/drawing/2014/main" id="{398AB6F5-E5DE-4AB5-9469-650F5C7BC02F}"/>
              </a:ext>
            </a:extLst>
          </p:cNvPr>
          <p:cNvSpPr>
            <a:spLocks noGrp="1"/>
          </p:cNvSpPr>
          <p:nvPr>
            <p:ph type="chart" sz="quarter" idx="29"/>
          </p:nvPr>
        </p:nvSpPr>
        <p:spPr>
          <a:xfrm>
            <a:off x="8897615" y="2658741"/>
            <a:ext cx="2635250" cy="2127572"/>
          </a:xfrm>
        </p:spPr>
        <p:txBody>
          <a:bodyPr/>
          <a:lstStyle/>
          <a:p>
            <a:r>
              <a:rPr lang="en-US"/>
              <a:t>Click icon to add chart</a:t>
            </a:r>
            <a:endParaRPr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A20137-9C0C-4DA4-BD4C-2707DA74673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00064" y="4861249"/>
            <a:ext cx="2635021" cy="1020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AFBC60B-11E0-4694-8DBF-0DD62EDB6B4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280587" y="4861249"/>
            <a:ext cx="2635021" cy="1020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EF1E8D3-913B-4B30-9DFE-B66976F583F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089101" y="4861249"/>
            <a:ext cx="2635021" cy="1020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7643B64F-FD95-47DA-A080-4E4F73C9AFE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897616" y="4861249"/>
            <a:ext cx="2635021" cy="1020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23826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ight Numbered Facts" preserve="1">
  <p:cSld name="Eight Numbered Facts">
    <p:spTree>
      <p:nvGrpSpPr>
        <p:cNvPr id="1" name="Shape 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9" name="Google Shape;559;p65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60" name="Google Shape;560;p65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1" name="Google Shape;561;p65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62" name="Google Shape;562;p65"/>
          <p:cNvSpPr txBox="1">
            <a:spLocks noGrp="1"/>
          </p:cNvSpPr>
          <p:nvPr>
            <p:ph type="body" idx="1"/>
          </p:nvPr>
        </p:nvSpPr>
        <p:spPr>
          <a:xfrm>
            <a:off x="799032" y="2645919"/>
            <a:ext cx="2286595" cy="101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3" name="Google Shape;563;p65"/>
          <p:cNvSpPr txBox="1">
            <a:spLocks noGrp="1"/>
          </p:cNvSpPr>
          <p:nvPr>
            <p:ph type="body" idx="2"/>
          </p:nvPr>
        </p:nvSpPr>
        <p:spPr>
          <a:xfrm>
            <a:off x="799034" y="2009049"/>
            <a:ext cx="6048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None/>
              <a:defRPr sz="40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4" name="Google Shape;564;p65"/>
          <p:cNvSpPr txBox="1">
            <a:spLocks noGrp="1"/>
          </p:cNvSpPr>
          <p:nvPr>
            <p:ph type="body" idx="3"/>
          </p:nvPr>
        </p:nvSpPr>
        <p:spPr>
          <a:xfrm>
            <a:off x="1403870" y="2009049"/>
            <a:ext cx="1681759" cy="60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9142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5" name="Google Shape;565;p65"/>
          <p:cNvSpPr txBox="1">
            <a:spLocks noGrp="1"/>
          </p:cNvSpPr>
          <p:nvPr>
            <p:ph type="body" idx="4"/>
          </p:nvPr>
        </p:nvSpPr>
        <p:spPr>
          <a:xfrm>
            <a:off x="3564953" y="2645919"/>
            <a:ext cx="2286595" cy="101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6" name="Google Shape;566;p65"/>
          <p:cNvSpPr txBox="1">
            <a:spLocks noGrp="1"/>
          </p:cNvSpPr>
          <p:nvPr>
            <p:ph type="body" idx="5"/>
          </p:nvPr>
        </p:nvSpPr>
        <p:spPr>
          <a:xfrm>
            <a:off x="3564955" y="2009049"/>
            <a:ext cx="6048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None/>
              <a:defRPr sz="40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7" name="Google Shape;567;p65"/>
          <p:cNvSpPr txBox="1">
            <a:spLocks noGrp="1"/>
          </p:cNvSpPr>
          <p:nvPr>
            <p:ph type="body" idx="6"/>
          </p:nvPr>
        </p:nvSpPr>
        <p:spPr>
          <a:xfrm>
            <a:off x="4169791" y="2009049"/>
            <a:ext cx="1681759" cy="60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9142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8" name="Google Shape;568;p65"/>
          <p:cNvSpPr txBox="1">
            <a:spLocks noGrp="1"/>
          </p:cNvSpPr>
          <p:nvPr>
            <p:ph type="body" idx="7"/>
          </p:nvPr>
        </p:nvSpPr>
        <p:spPr>
          <a:xfrm>
            <a:off x="6355954" y="2643295"/>
            <a:ext cx="2286595" cy="101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9" name="Google Shape;569;p65"/>
          <p:cNvSpPr txBox="1">
            <a:spLocks noGrp="1"/>
          </p:cNvSpPr>
          <p:nvPr>
            <p:ph type="body" idx="8"/>
          </p:nvPr>
        </p:nvSpPr>
        <p:spPr>
          <a:xfrm>
            <a:off x="6355956" y="2006425"/>
            <a:ext cx="6048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None/>
              <a:defRPr sz="40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0" name="Google Shape;570;p65"/>
          <p:cNvSpPr txBox="1">
            <a:spLocks noGrp="1"/>
          </p:cNvSpPr>
          <p:nvPr>
            <p:ph type="body" idx="9"/>
          </p:nvPr>
        </p:nvSpPr>
        <p:spPr>
          <a:xfrm>
            <a:off x="6960792" y="2006425"/>
            <a:ext cx="1681759" cy="60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9142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1" name="Google Shape;571;p65"/>
          <p:cNvSpPr txBox="1">
            <a:spLocks noGrp="1"/>
          </p:cNvSpPr>
          <p:nvPr>
            <p:ph type="body" idx="13"/>
          </p:nvPr>
        </p:nvSpPr>
        <p:spPr>
          <a:xfrm>
            <a:off x="9087822" y="2645919"/>
            <a:ext cx="2286595" cy="101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2" name="Google Shape;572;p65"/>
          <p:cNvSpPr txBox="1">
            <a:spLocks noGrp="1"/>
          </p:cNvSpPr>
          <p:nvPr>
            <p:ph type="body" idx="14"/>
          </p:nvPr>
        </p:nvSpPr>
        <p:spPr>
          <a:xfrm>
            <a:off x="9087824" y="2009049"/>
            <a:ext cx="6048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None/>
              <a:defRPr sz="40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3" name="Google Shape;573;p65"/>
          <p:cNvSpPr txBox="1">
            <a:spLocks noGrp="1"/>
          </p:cNvSpPr>
          <p:nvPr>
            <p:ph type="body" idx="15"/>
          </p:nvPr>
        </p:nvSpPr>
        <p:spPr>
          <a:xfrm>
            <a:off x="9692660" y="2009049"/>
            <a:ext cx="1681759" cy="60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9142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4" name="Google Shape;574;p65"/>
          <p:cNvSpPr txBox="1">
            <a:spLocks noGrp="1"/>
          </p:cNvSpPr>
          <p:nvPr>
            <p:ph type="body" idx="16"/>
          </p:nvPr>
        </p:nvSpPr>
        <p:spPr>
          <a:xfrm>
            <a:off x="799032" y="4578907"/>
            <a:ext cx="2286595" cy="101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5" name="Google Shape;575;p65"/>
          <p:cNvSpPr txBox="1">
            <a:spLocks noGrp="1"/>
          </p:cNvSpPr>
          <p:nvPr>
            <p:ph type="body" idx="17"/>
          </p:nvPr>
        </p:nvSpPr>
        <p:spPr>
          <a:xfrm>
            <a:off x="799034" y="3942037"/>
            <a:ext cx="6048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None/>
              <a:defRPr sz="40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6" name="Google Shape;576;p65"/>
          <p:cNvSpPr txBox="1">
            <a:spLocks noGrp="1"/>
          </p:cNvSpPr>
          <p:nvPr>
            <p:ph type="body" idx="18"/>
          </p:nvPr>
        </p:nvSpPr>
        <p:spPr>
          <a:xfrm>
            <a:off x="1403870" y="3942037"/>
            <a:ext cx="1681759" cy="60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9142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7" name="Google Shape;577;p65"/>
          <p:cNvSpPr txBox="1">
            <a:spLocks noGrp="1"/>
          </p:cNvSpPr>
          <p:nvPr>
            <p:ph type="body" idx="19"/>
          </p:nvPr>
        </p:nvSpPr>
        <p:spPr>
          <a:xfrm>
            <a:off x="3564953" y="4578907"/>
            <a:ext cx="2286595" cy="101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8" name="Google Shape;578;p65"/>
          <p:cNvSpPr txBox="1">
            <a:spLocks noGrp="1"/>
          </p:cNvSpPr>
          <p:nvPr>
            <p:ph type="body" idx="20"/>
          </p:nvPr>
        </p:nvSpPr>
        <p:spPr>
          <a:xfrm>
            <a:off x="3564955" y="3942037"/>
            <a:ext cx="6048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None/>
              <a:defRPr sz="40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9" name="Google Shape;579;p65"/>
          <p:cNvSpPr txBox="1">
            <a:spLocks noGrp="1"/>
          </p:cNvSpPr>
          <p:nvPr>
            <p:ph type="body" idx="21"/>
          </p:nvPr>
        </p:nvSpPr>
        <p:spPr>
          <a:xfrm>
            <a:off x="4169791" y="3942037"/>
            <a:ext cx="1681759" cy="60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9142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0" name="Google Shape;580;p65"/>
          <p:cNvSpPr txBox="1">
            <a:spLocks noGrp="1"/>
          </p:cNvSpPr>
          <p:nvPr>
            <p:ph type="body" idx="22"/>
          </p:nvPr>
        </p:nvSpPr>
        <p:spPr>
          <a:xfrm>
            <a:off x="6355954" y="4576283"/>
            <a:ext cx="2286595" cy="101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1" name="Google Shape;581;p65"/>
          <p:cNvSpPr txBox="1">
            <a:spLocks noGrp="1"/>
          </p:cNvSpPr>
          <p:nvPr>
            <p:ph type="body" idx="23"/>
          </p:nvPr>
        </p:nvSpPr>
        <p:spPr>
          <a:xfrm>
            <a:off x="6355956" y="3939413"/>
            <a:ext cx="6048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None/>
              <a:defRPr sz="40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2" name="Google Shape;582;p65"/>
          <p:cNvSpPr txBox="1">
            <a:spLocks noGrp="1"/>
          </p:cNvSpPr>
          <p:nvPr>
            <p:ph type="body" idx="24"/>
          </p:nvPr>
        </p:nvSpPr>
        <p:spPr>
          <a:xfrm>
            <a:off x="6960792" y="3939413"/>
            <a:ext cx="1681759" cy="60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9142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3" name="Google Shape;583;p65"/>
          <p:cNvSpPr txBox="1">
            <a:spLocks noGrp="1"/>
          </p:cNvSpPr>
          <p:nvPr>
            <p:ph type="body" idx="25"/>
          </p:nvPr>
        </p:nvSpPr>
        <p:spPr>
          <a:xfrm>
            <a:off x="9087822" y="4578907"/>
            <a:ext cx="2286595" cy="101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4" name="Google Shape;584;p65"/>
          <p:cNvSpPr txBox="1">
            <a:spLocks noGrp="1"/>
          </p:cNvSpPr>
          <p:nvPr>
            <p:ph type="body" idx="26"/>
          </p:nvPr>
        </p:nvSpPr>
        <p:spPr>
          <a:xfrm>
            <a:off x="9087824" y="3942037"/>
            <a:ext cx="6048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None/>
              <a:defRPr sz="40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5" name="Google Shape;585;p65"/>
          <p:cNvSpPr txBox="1">
            <a:spLocks noGrp="1"/>
          </p:cNvSpPr>
          <p:nvPr>
            <p:ph type="body" idx="27"/>
          </p:nvPr>
        </p:nvSpPr>
        <p:spPr>
          <a:xfrm>
            <a:off x="9692660" y="3942037"/>
            <a:ext cx="1681759" cy="60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9142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5433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ight Numbers Facts Dark" preserve="1">
  <p:cSld name="Eight Numbers Facts Dark">
    <p:bg>
      <p:bgPr>
        <a:solidFill>
          <a:schemeClr val="dk1"/>
        </a:solidFill>
        <a:effectLst/>
      </p:bgPr>
    </p:bg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66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2256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88" name="Google Shape;588;p66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9" name="Google Shape;589;p66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90" name="Google Shape;590;p66"/>
          <p:cNvSpPr txBox="1">
            <a:spLocks noGrp="1"/>
          </p:cNvSpPr>
          <p:nvPr>
            <p:ph type="body" idx="1"/>
          </p:nvPr>
        </p:nvSpPr>
        <p:spPr>
          <a:xfrm>
            <a:off x="799032" y="2645919"/>
            <a:ext cx="2286595" cy="101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1" name="Google Shape;591;p66"/>
          <p:cNvSpPr txBox="1">
            <a:spLocks noGrp="1"/>
          </p:cNvSpPr>
          <p:nvPr>
            <p:ph type="body" idx="2"/>
          </p:nvPr>
        </p:nvSpPr>
        <p:spPr>
          <a:xfrm>
            <a:off x="799034" y="2009049"/>
            <a:ext cx="6048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2" name="Google Shape;592;p66"/>
          <p:cNvSpPr txBox="1">
            <a:spLocks noGrp="1"/>
          </p:cNvSpPr>
          <p:nvPr>
            <p:ph type="body" idx="3"/>
          </p:nvPr>
        </p:nvSpPr>
        <p:spPr>
          <a:xfrm>
            <a:off x="1403870" y="2009049"/>
            <a:ext cx="1681759" cy="60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9142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1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3" name="Google Shape;593;p66"/>
          <p:cNvSpPr txBox="1">
            <a:spLocks noGrp="1"/>
          </p:cNvSpPr>
          <p:nvPr>
            <p:ph type="body" idx="4"/>
          </p:nvPr>
        </p:nvSpPr>
        <p:spPr>
          <a:xfrm>
            <a:off x="3564953" y="2645919"/>
            <a:ext cx="2286595" cy="101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4" name="Google Shape;594;p66"/>
          <p:cNvSpPr txBox="1">
            <a:spLocks noGrp="1"/>
          </p:cNvSpPr>
          <p:nvPr>
            <p:ph type="body" idx="5"/>
          </p:nvPr>
        </p:nvSpPr>
        <p:spPr>
          <a:xfrm>
            <a:off x="3564955" y="2009049"/>
            <a:ext cx="6048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5" name="Google Shape;595;p66"/>
          <p:cNvSpPr txBox="1">
            <a:spLocks noGrp="1"/>
          </p:cNvSpPr>
          <p:nvPr>
            <p:ph type="body" idx="6"/>
          </p:nvPr>
        </p:nvSpPr>
        <p:spPr>
          <a:xfrm>
            <a:off x="4169791" y="2009049"/>
            <a:ext cx="1681759" cy="60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9142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1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6" name="Google Shape;596;p66"/>
          <p:cNvSpPr txBox="1">
            <a:spLocks noGrp="1"/>
          </p:cNvSpPr>
          <p:nvPr>
            <p:ph type="body" idx="7"/>
          </p:nvPr>
        </p:nvSpPr>
        <p:spPr>
          <a:xfrm>
            <a:off x="6355954" y="2643295"/>
            <a:ext cx="2286595" cy="101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7" name="Google Shape;597;p66"/>
          <p:cNvSpPr txBox="1">
            <a:spLocks noGrp="1"/>
          </p:cNvSpPr>
          <p:nvPr>
            <p:ph type="body" idx="8"/>
          </p:nvPr>
        </p:nvSpPr>
        <p:spPr>
          <a:xfrm>
            <a:off x="6355956" y="2006425"/>
            <a:ext cx="6048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8" name="Google Shape;598;p66"/>
          <p:cNvSpPr txBox="1">
            <a:spLocks noGrp="1"/>
          </p:cNvSpPr>
          <p:nvPr>
            <p:ph type="body" idx="9"/>
          </p:nvPr>
        </p:nvSpPr>
        <p:spPr>
          <a:xfrm>
            <a:off x="6960792" y="2006425"/>
            <a:ext cx="1681759" cy="60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9142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1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9" name="Google Shape;599;p66"/>
          <p:cNvSpPr txBox="1">
            <a:spLocks noGrp="1"/>
          </p:cNvSpPr>
          <p:nvPr>
            <p:ph type="body" idx="13"/>
          </p:nvPr>
        </p:nvSpPr>
        <p:spPr>
          <a:xfrm>
            <a:off x="9087822" y="2645919"/>
            <a:ext cx="2286595" cy="101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0" name="Google Shape;600;p66"/>
          <p:cNvSpPr txBox="1">
            <a:spLocks noGrp="1"/>
          </p:cNvSpPr>
          <p:nvPr>
            <p:ph type="body" idx="14"/>
          </p:nvPr>
        </p:nvSpPr>
        <p:spPr>
          <a:xfrm>
            <a:off x="9087824" y="2009049"/>
            <a:ext cx="6048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1" name="Google Shape;601;p66"/>
          <p:cNvSpPr txBox="1">
            <a:spLocks noGrp="1"/>
          </p:cNvSpPr>
          <p:nvPr>
            <p:ph type="body" idx="15"/>
          </p:nvPr>
        </p:nvSpPr>
        <p:spPr>
          <a:xfrm>
            <a:off x="9692660" y="2009049"/>
            <a:ext cx="1681759" cy="60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9142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1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2" name="Google Shape;602;p66"/>
          <p:cNvSpPr txBox="1">
            <a:spLocks noGrp="1"/>
          </p:cNvSpPr>
          <p:nvPr>
            <p:ph type="body" idx="16"/>
          </p:nvPr>
        </p:nvSpPr>
        <p:spPr>
          <a:xfrm>
            <a:off x="799032" y="4578907"/>
            <a:ext cx="2286595" cy="101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3" name="Google Shape;603;p66"/>
          <p:cNvSpPr txBox="1">
            <a:spLocks noGrp="1"/>
          </p:cNvSpPr>
          <p:nvPr>
            <p:ph type="body" idx="17"/>
          </p:nvPr>
        </p:nvSpPr>
        <p:spPr>
          <a:xfrm>
            <a:off x="799034" y="3942037"/>
            <a:ext cx="6048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4" name="Google Shape;604;p66"/>
          <p:cNvSpPr txBox="1">
            <a:spLocks noGrp="1"/>
          </p:cNvSpPr>
          <p:nvPr>
            <p:ph type="body" idx="18"/>
          </p:nvPr>
        </p:nvSpPr>
        <p:spPr>
          <a:xfrm>
            <a:off x="1403870" y="3942037"/>
            <a:ext cx="1681759" cy="60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9142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1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5" name="Google Shape;605;p66"/>
          <p:cNvSpPr txBox="1">
            <a:spLocks noGrp="1"/>
          </p:cNvSpPr>
          <p:nvPr>
            <p:ph type="body" idx="19"/>
          </p:nvPr>
        </p:nvSpPr>
        <p:spPr>
          <a:xfrm>
            <a:off x="3564953" y="4578907"/>
            <a:ext cx="2286595" cy="101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6" name="Google Shape;606;p66"/>
          <p:cNvSpPr txBox="1">
            <a:spLocks noGrp="1"/>
          </p:cNvSpPr>
          <p:nvPr>
            <p:ph type="body" idx="20"/>
          </p:nvPr>
        </p:nvSpPr>
        <p:spPr>
          <a:xfrm>
            <a:off x="3564955" y="3942037"/>
            <a:ext cx="6048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7" name="Google Shape;607;p66"/>
          <p:cNvSpPr txBox="1">
            <a:spLocks noGrp="1"/>
          </p:cNvSpPr>
          <p:nvPr>
            <p:ph type="body" idx="21"/>
          </p:nvPr>
        </p:nvSpPr>
        <p:spPr>
          <a:xfrm>
            <a:off x="4169791" y="3942037"/>
            <a:ext cx="1681759" cy="60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9142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1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8" name="Google Shape;608;p66"/>
          <p:cNvSpPr txBox="1">
            <a:spLocks noGrp="1"/>
          </p:cNvSpPr>
          <p:nvPr>
            <p:ph type="body" idx="22"/>
          </p:nvPr>
        </p:nvSpPr>
        <p:spPr>
          <a:xfrm>
            <a:off x="6355954" y="4576283"/>
            <a:ext cx="2286595" cy="101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9" name="Google Shape;609;p66"/>
          <p:cNvSpPr txBox="1">
            <a:spLocks noGrp="1"/>
          </p:cNvSpPr>
          <p:nvPr>
            <p:ph type="body" idx="23"/>
          </p:nvPr>
        </p:nvSpPr>
        <p:spPr>
          <a:xfrm>
            <a:off x="6355956" y="3939413"/>
            <a:ext cx="6048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0" name="Google Shape;610;p66"/>
          <p:cNvSpPr txBox="1">
            <a:spLocks noGrp="1"/>
          </p:cNvSpPr>
          <p:nvPr>
            <p:ph type="body" idx="24"/>
          </p:nvPr>
        </p:nvSpPr>
        <p:spPr>
          <a:xfrm>
            <a:off x="6960792" y="3939413"/>
            <a:ext cx="1681759" cy="60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9142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1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1" name="Google Shape;611;p66"/>
          <p:cNvSpPr txBox="1">
            <a:spLocks noGrp="1"/>
          </p:cNvSpPr>
          <p:nvPr>
            <p:ph type="body" idx="25"/>
          </p:nvPr>
        </p:nvSpPr>
        <p:spPr>
          <a:xfrm>
            <a:off x="9087822" y="4578907"/>
            <a:ext cx="2286595" cy="101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2" name="Google Shape;612;p66"/>
          <p:cNvSpPr txBox="1">
            <a:spLocks noGrp="1"/>
          </p:cNvSpPr>
          <p:nvPr>
            <p:ph type="body" idx="26"/>
          </p:nvPr>
        </p:nvSpPr>
        <p:spPr>
          <a:xfrm>
            <a:off x="9087824" y="3942037"/>
            <a:ext cx="6048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3" name="Google Shape;613;p66"/>
          <p:cNvSpPr txBox="1">
            <a:spLocks noGrp="1"/>
          </p:cNvSpPr>
          <p:nvPr>
            <p:ph type="body" idx="27"/>
          </p:nvPr>
        </p:nvSpPr>
        <p:spPr>
          <a:xfrm>
            <a:off x="9692660" y="3942037"/>
            <a:ext cx="1681759" cy="60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9142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1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9715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 preserve="1">
  <p:cSld name="Custom Layout">
    <p:spTree>
      <p:nvGrpSpPr>
        <p:cNvPr id="1" name="Shape 6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" name="Google Shape;615;p67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616" name="Google Shape;616;p67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4636713" cy="28002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400"/>
              <a:buFont typeface="Calibri"/>
              <a:buNone/>
              <a:defRPr sz="54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17" name="Google Shape;617;p67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8" name="Google Shape;618;p67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08440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Section Header 4" preserve="1">
  <p:cSld name="1_Section Header 4">
    <p:bg>
      <p:bgPr>
        <a:solidFill>
          <a:schemeClr val="accent2"/>
        </a:solidFill>
        <a:effectLst/>
      </p:bgPr>
    </p:bg>
    <p:spTree>
      <p:nvGrpSpPr>
        <p:cNvPr id="1" name="Shape 6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5" name="Google Shape;625;p69"/>
          <p:cNvSpPr txBox="1">
            <a:spLocks noGrp="1"/>
          </p:cNvSpPr>
          <p:nvPr>
            <p:ph type="ctrTitle"/>
          </p:nvPr>
        </p:nvSpPr>
        <p:spPr>
          <a:xfrm>
            <a:off x="535141" y="446743"/>
            <a:ext cx="3778097" cy="26903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Calibri"/>
              <a:buNone/>
              <a:defRPr sz="4400" b="0" i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26" name="Google Shape;626;p69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7" name="Google Shape;627;p69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28" name="Google Shape;628;p69"/>
          <p:cNvSpPr txBox="1">
            <a:spLocks noGrp="1"/>
          </p:cNvSpPr>
          <p:nvPr>
            <p:ph type="subTitle" idx="1"/>
          </p:nvPr>
        </p:nvSpPr>
        <p:spPr>
          <a:xfrm>
            <a:off x="542624" y="3436642"/>
            <a:ext cx="3773609" cy="2452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 sz="1500" b="0">
                <a:solidFill>
                  <a:schemeClr val="lt1"/>
                </a:solidFill>
              </a:defRPr>
            </a:lvl1pPr>
            <a:lvl2pPr lvl="1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782859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Section Header 5" preserve="1">
  <p:cSld name="1_Section Header 5">
    <p:bg>
      <p:bgPr>
        <a:solidFill>
          <a:schemeClr val="accent1"/>
        </a:solidFill>
        <a:effectLst/>
      </p:bgPr>
    </p:bg>
    <p:spTree>
      <p:nvGrpSpPr>
        <p:cNvPr id="1" name="Shape 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Google Shape;630;p70"/>
          <p:cNvSpPr txBox="1">
            <a:spLocks noGrp="1"/>
          </p:cNvSpPr>
          <p:nvPr>
            <p:ph type="ctrTitle"/>
          </p:nvPr>
        </p:nvSpPr>
        <p:spPr>
          <a:xfrm>
            <a:off x="535141" y="446743"/>
            <a:ext cx="3778097" cy="26903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Calibri"/>
              <a:buNone/>
              <a:defRPr sz="4400" b="0" i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31" name="Google Shape;631;p70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70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33" name="Google Shape;633;p70"/>
          <p:cNvSpPr txBox="1">
            <a:spLocks noGrp="1"/>
          </p:cNvSpPr>
          <p:nvPr>
            <p:ph type="subTitle" idx="1"/>
          </p:nvPr>
        </p:nvSpPr>
        <p:spPr>
          <a:xfrm>
            <a:off x="542624" y="3436642"/>
            <a:ext cx="3773609" cy="2452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 sz="1500" b="0">
                <a:solidFill>
                  <a:schemeClr val="lt1"/>
                </a:solidFill>
              </a:defRPr>
            </a:lvl1pPr>
            <a:lvl2pPr lvl="1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544349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s" preserve="1">
  <p:cSld name="End Slides">
    <p:bg>
      <p:bgPr>
        <a:solidFill>
          <a:schemeClr val="dk1"/>
        </a:solidFill>
        <a:effectLst/>
      </p:bgPr>
    </p:bg>
    <p:spTree>
      <p:nvGrpSpPr>
        <p:cNvPr id="1" name="Shape 6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5" name="Google Shape;635;p71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36" name="Google Shape;636;p71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7" name="Google Shape;637;p71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38" name="Google Shape;638;p71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500" b="0" i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END SLIDES</a:t>
            </a:r>
            <a:endParaRPr/>
          </a:p>
        </p:txBody>
      </p:sp>
      <p:sp>
        <p:nvSpPr>
          <p:cNvPr id="639" name="Google Shape;639;p71"/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07731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nd Slide with Illustration" preserve="1">
  <p:cSld name="End Slide with Illustration">
    <p:bg>
      <p:bgPr>
        <a:solidFill>
          <a:schemeClr val="dk1"/>
        </a:solidFill>
        <a:effectLst/>
      </p:bgPr>
    </p:bg>
    <p:spTree>
      <p:nvGrpSpPr>
        <p:cNvPr id="1" name="Shape 6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1" name="Google Shape;641;p72"/>
          <p:cNvSpPr/>
          <p:nvPr/>
        </p:nvSpPr>
        <p:spPr>
          <a:xfrm>
            <a:off x="6095747" y="0"/>
            <a:ext cx="6096253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2" name="Google Shape;642;p72"/>
          <p:cNvSpPr/>
          <p:nvPr/>
        </p:nvSpPr>
        <p:spPr>
          <a:xfrm>
            <a:off x="0" y="0"/>
            <a:ext cx="6096000" cy="55839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3" name="Google Shape;643;p72"/>
          <p:cNvSpPr txBox="1">
            <a:spLocks noGrp="1"/>
          </p:cNvSpPr>
          <p:nvPr>
            <p:ph type="ctrTitle"/>
          </p:nvPr>
        </p:nvSpPr>
        <p:spPr>
          <a:xfrm>
            <a:off x="515939" y="1983105"/>
            <a:ext cx="5454650" cy="18402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Font typeface="Calibri"/>
              <a:buNone/>
              <a:defRPr sz="6200" b="0" i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grpSp>
        <p:nvGrpSpPr>
          <p:cNvPr id="644" name="Google Shape;644;p72"/>
          <p:cNvGrpSpPr/>
          <p:nvPr/>
        </p:nvGrpSpPr>
        <p:grpSpPr>
          <a:xfrm>
            <a:off x="504030" y="5995713"/>
            <a:ext cx="1527969" cy="354615"/>
            <a:chOff x="316" y="3952"/>
            <a:chExt cx="586" cy="136"/>
          </a:xfrm>
        </p:grpSpPr>
        <p:sp>
          <p:nvSpPr>
            <p:cNvPr id="645" name="Google Shape;645;p72"/>
            <p:cNvSpPr/>
            <p:nvPr/>
          </p:nvSpPr>
          <p:spPr>
            <a:xfrm>
              <a:off x="428" y="3990"/>
              <a:ext cx="66" cy="98"/>
            </a:xfrm>
            <a:custGeom>
              <a:avLst/>
              <a:gdLst/>
              <a:ahLst/>
              <a:cxnLst/>
              <a:rect l="l" t="t" r="r" b="b"/>
              <a:pathLst>
                <a:path w="2176" h="3230" extrusionOk="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6" name="Google Shape;646;p72"/>
            <p:cNvSpPr/>
            <p:nvPr/>
          </p:nvSpPr>
          <p:spPr>
            <a:xfrm>
              <a:off x="505" y="3991"/>
              <a:ext cx="85" cy="97"/>
            </a:xfrm>
            <a:custGeom>
              <a:avLst/>
              <a:gdLst/>
              <a:ahLst/>
              <a:cxnLst/>
              <a:rect l="l" t="t" r="r" b="b"/>
              <a:pathLst>
                <a:path w="2769" h="3192" extrusionOk="0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7" name="Google Shape;647;p72"/>
            <p:cNvSpPr/>
            <p:nvPr/>
          </p:nvSpPr>
          <p:spPr>
            <a:xfrm>
              <a:off x="608" y="3990"/>
              <a:ext cx="46" cy="97"/>
            </a:xfrm>
            <a:custGeom>
              <a:avLst/>
              <a:gdLst/>
              <a:ahLst/>
              <a:cxnLst/>
              <a:rect l="l" t="t" r="r" b="b"/>
              <a:pathLst>
                <a:path w="1508" h="3192" extrusionOk="0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8" name="Google Shape;648;p72"/>
            <p:cNvSpPr/>
            <p:nvPr/>
          </p:nvSpPr>
          <p:spPr>
            <a:xfrm>
              <a:off x="664" y="3952"/>
              <a:ext cx="28" cy="135"/>
            </a:xfrm>
            <a:custGeom>
              <a:avLst/>
              <a:gdLst/>
              <a:ahLst/>
              <a:cxnLst/>
              <a:rect l="l" t="t" r="r" b="b"/>
              <a:pathLst>
                <a:path w="934" h="4454" extrusionOk="0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9" name="Google Shape;649;p72"/>
            <p:cNvSpPr/>
            <p:nvPr/>
          </p:nvSpPr>
          <p:spPr>
            <a:xfrm>
              <a:off x="702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1" h="3230" extrusionOk="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0" name="Google Shape;650;p72"/>
            <p:cNvSpPr/>
            <p:nvPr/>
          </p:nvSpPr>
          <p:spPr>
            <a:xfrm>
              <a:off x="814" y="3990"/>
              <a:ext cx="88" cy="97"/>
            </a:xfrm>
            <a:custGeom>
              <a:avLst/>
              <a:gdLst/>
              <a:ahLst/>
              <a:cxnLst/>
              <a:rect l="l" t="t" r="r" b="b"/>
              <a:pathLst>
                <a:path w="2893" h="3211" extrusionOk="0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1" name="Google Shape;651;p72"/>
            <p:cNvSpPr/>
            <p:nvPr/>
          </p:nvSpPr>
          <p:spPr>
            <a:xfrm>
              <a:off x="316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0" h="3230" extrusionOk="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652" name="Google Shape;652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863791" y="1048609"/>
            <a:ext cx="4957148" cy="501546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83170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of Layouts" preserve="1">
  <p:cSld name="End of Layouts">
    <p:bg>
      <p:bgPr>
        <a:solidFill>
          <a:schemeClr val="dk1"/>
        </a:solidFill>
        <a:effectLst/>
      </p:bgPr>
    </p:bg>
    <p:spTree>
      <p:nvGrpSpPr>
        <p:cNvPr id="1" name="Shape 6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4" name="Google Shape;664;p74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65" name="Google Shape;665;p74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6" name="Google Shape;666;p74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67" name="Google Shape;667;p74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500" b="0" i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DO NOT USE </a:t>
            </a:r>
            <a:br>
              <a:rPr lang="en-US" sz="11500" b="0" i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1500" b="0" i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ANY LAYOUTS </a:t>
            </a:r>
            <a:br>
              <a:rPr lang="en-US" sz="11500" b="0" i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1500" b="0" i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PAST THIS POINT</a:t>
            </a:r>
            <a:endParaRPr sz="11500" b="0" i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8" name="Google Shape;668;p74"/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9229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Hea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A3B2CE-A3B3-4189-8B73-7FEBFEEA5D8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35141" y="446743"/>
            <a:ext cx="3778097" cy="269035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/>
            </a:br>
            <a:r>
              <a:t>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542624" y="3436643"/>
            <a:ext cx="3773609" cy="67405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urion_Internal_Use_Only</a:t>
            </a:r>
            <a:endParaRPr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grpSp>
        <p:nvGrpSpPr>
          <p:cNvPr id="11" name="asurion logo">
            <a:extLst>
              <a:ext uri="{FF2B5EF4-FFF2-40B4-BE49-F238E27FC236}">
                <a16:creationId xmlns:a16="http://schemas.microsoft.com/office/drawing/2014/main" id="{E1C5BE53-885F-4140-A2D0-795FBB7C123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1" y="6390186"/>
            <a:ext cx="918000" cy="213052"/>
            <a:chOff x="316" y="3952"/>
            <a:chExt cx="586" cy="136"/>
          </a:xfrm>
          <a:solidFill>
            <a:schemeClr val="tx1"/>
          </a:solidFill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188848DB-B87D-B041-A849-970DFD53FD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DCA25C55-1346-AA4E-B99A-B92DB24C92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24A4990-4E45-BE4E-8F5C-8D885585F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A0CCF30B-EF01-9241-89DE-6194C640FB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69220C85-DAA7-BC4E-818D-2170A0678C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56C6BD5A-A22D-1140-84E9-1700B1F47F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E4641BA2-7F1D-F94D-A723-FAF1B048BF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8764034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3F9B186-B379-43C9-BEFE-1C3220F80B34}"/>
              </a:ext>
            </a:extLst>
          </p:cNvPr>
          <p:cNvSpPr/>
          <p:nvPr/>
        </p:nvSpPr>
        <p:spPr>
          <a:xfrm>
            <a:off x="0" y="5598000"/>
            <a:ext cx="6096000" cy="126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4F442-ECB4-4EA4-AE95-53D8E965A64C}"/>
              </a:ext>
            </a:extLst>
          </p:cNvPr>
          <p:cNvSpPr/>
          <p:nvPr/>
        </p:nvSpPr>
        <p:spPr>
          <a:xfrm>
            <a:off x="6096000" y="5598000"/>
            <a:ext cx="6096000" cy="126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9" y="140677"/>
            <a:ext cx="5454650" cy="2453661"/>
          </a:xfrm>
        </p:spPr>
        <p:txBody>
          <a:bodyPr anchor="b"/>
          <a:lstStyle>
            <a:lvl1pPr algn="l">
              <a:lnSpc>
                <a:spcPct val="90000"/>
              </a:lnSpc>
              <a:defRPr sz="5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3022209"/>
            <a:ext cx="4086542" cy="2010506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15" name="asurion logo">
            <a:extLst>
              <a:ext uri="{FF2B5EF4-FFF2-40B4-BE49-F238E27FC236}">
                <a16:creationId xmlns:a16="http://schemas.microsoft.com/office/drawing/2014/main" id="{742C3EE8-5E66-4064-AD77-262ED2AF10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0" y="5995713"/>
            <a:ext cx="1527969" cy="354615"/>
            <a:chOff x="316" y="3952"/>
            <a:chExt cx="586" cy="136"/>
          </a:xfrm>
          <a:solidFill>
            <a:schemeClr val="bg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9EF3FF97-F9E4-4229-93B3-D336E320D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9D763D80-7D31-4C23-92B5-7AA5C7093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D0697A47-C99B-4053-ADFB-D711F85AE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B1BCB078-E3E2-4D42-8199-4874325579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961A3D60-6C30-4644-91DF-BEEC5109B1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F348E325-407C-441C-B197-E60FC5A68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9F368039-5BAA-412B-A0CF-A7E83F9606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975679-7E40-4963-9C83-A613C95AA4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99238" y="6012655"/>
            <a:ext cx="3435350" cy="531812"/>
          </a:xfrm>
        </p:spPr>
        <p:txBody>
          <a:bodyPr anchor="ctr" anchorCtr="0"/>
          <a:lstStyle>
            <a:lvl1pPr>
              <a:lnSpc>
                <a:spcPct val="100000"/>
              </a:lnSpc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Presenter Name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7D42A3C6-0F61-41F7-B4CB-28E14C8D71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60000" y="6012655"/>
            <a:ext cx="1534575" cy="531812"/>
          </a:xfrm>
        </p:spPr>
        <p:txBody>
          <a:bodyPr anchor="ctr" anchorCtr="0"/>
          <a:lstStyle>
            <a:lvl1pPr algn="r">
              <a:lnSpc>
                <a:spcPct val="100000"/>
              </a:lnSpc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January 01, 2020</a:t>
            </a:r>
          </a:p>
        </p:txBody>
      </p:sp>
    </p:spTree>
    <p:extLst>
      <p:ext uri="{BB962C8B-B14F-4D97-AF65-F5344CB8AC3E}">
        <p14:creationId xmlns:p14="http://schemas.microsoft.com/office/powerpoint/2010/main" val="2690792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2"/>
          <p:cNvSpPr>
            <a:spLocks noGrp="1"/>
          </p:cNvSpPr>
          <p:nvPr>
            <p:ph type="body" idx="13"/>
          </p:nvPr>
        </p:nvSpPr>
        <p:spPr>
          <a:xfrm>
            <a:off x="500063" y="1483200"/>
            <a:ext cx="5470526" cy="786765"/>
          </a:xfrm>
        </p:spPr>
        <p:txBody>
          <a:bodyPr anchor="t" anchorCtr="0"/>
          <a:lstStyle>
            <a:lvl1pPr marL="0" indent="0"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4"/>
          </p:nvPr>
        </p:nvSpPr>
        <p:spPr>
          <a:xfrm>
            <a:off x="500063" y="2520950"/>
            <a:ext cx="5470525" cy="3370263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5"/>
          </p:nvPr>
        </p:nvSpPr>
        <p:spPr>
          <a:xfrm>
            <a:off x="6221414" y="2520950"/>
            <a:ext cx="5471476" cy="3370263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F1517A8-590F-479B-8350-B8C027A8A9C5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221412" y="1483200"/>
            <a:ext cx="5471477" cy="786765"/>
          </a:xfrm>
        </p:spPr>
        <p:txBody>
          <a:bodyPr anchor="t" anchorCtr="0"/>
          <a:lstStyle>
            <a:lvl1pPr marL="0" indent="0"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6FA19B-A4D4-453E-A2F4-59F228B33EC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1EE0A0-3F25-4EDE-BBFD-3C1C36E0BBA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1865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1698625"/>
            <a:ext cx="11191875" cy="4192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231F20"/>
                </a:solidFill>
              </a:rPr>
              <a:t>Asurion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>
                <a:solidFill>
                  <a:srgbClr val="231F20"/>
                </a:solidFill>
              </a:rPr>
              <a:pPr/>
              <a:t>‹#›</a:t>
            </a:fld>
            <a:endParaRPr>
              <a:solidFill>
                <a:srgbClr val="231F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3053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4C8F12B-D471-4524-A21D-E2E0C4A3A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203B0C-11E9-4FDC-A004-C78D9EB13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37424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Agenda, Section Layouts">
  <p:cSld name="Title, Agenda, Section Layouts">
    <p:bg>
      <p:bgPr>
        <a:solidFill>
          <a:schemeClr val="dk1"/>
        </a:solidFill>
        <a:effectLst/>
      </p:bgPr>
    </p:bg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11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11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9" name="Google Shape;49;p11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500" b="0" i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TITLE, AGENDA, &amp; SECTION LAYOUTS</a:t>
            </a:r>
            <a:endParaRPr/>
          </a:p>
        </p:txBody>
      </p:sp>
      <p:sp>
        <p:nvSpPr>
          <p:cNvPr id="50" name="Google Shape;50;p11"/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85242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2">
  <p:cSld name="Title Slide 2">
    <p:bg>
      <p:bgPr>
        <a:solidFill>
          <a:schemeClr val="lt1"/>
        </a:solidFill>
        <a:effectLst/>
      </p:bgPr>
    </p:bg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12"/>
          <p:cNvSpPr/>
          <p:nvPr/>
        </p:nvSpPr>
        <p:spPr>
          <a:xfrm>
            <a:off x="0" y="5598000"/>
            <a:ext cx="6096000" cy="1260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" name="Google Shape;53;p12"/>
          <p:cNvSpPr txBox="1">
            <a:spLocks noGrp="1"/>
          </p:cNvSpPr>
          <p:nvPr>
            <p:ph type="ctrTitle"/>
          </p:nvPr>
        </p:nvSpPr>
        <p:spPr>
          <a:xfrm>
            <a:off x="515939" y="140677"/>
            <a:ext cx="5454650" cy="24536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Calibri"/>
              <a:buNone/>
              <a:defRPr sz="5200" b="0" i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12"/>
          <p:cNvSpPr txBox="1">
            <a:spLocks noGrp="1"/>
          </p:cNvSpPr>
          <p:nvPr>
            <p:ph type="subTitle" idx="1"/>
          </p:nvPr>
        </p:nvSpPr>
        <p:spPr>
          <a:xfrm>
            <a:off x="515938" y="3022209"/>
            <a:ext cx="4086542" cy="20105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55" name="Google Shape;55;p12"/>
          <p:cNvGrpSpPr/>
          <p:nvPr/>
        </p:nvGrpSpPr>
        <p:grpSpPr>
          <a:xfrm>
            <a:off x="504030" y="5995713"/>
            <a:ext cx="1527969" cy="354615"/>
            <a:chOff x="316" y="3952"/>
            <a:chExt cx="586" cy="136"/>
          </a:xfrm>
        </p:grpSpPr>
        <p:sp>
          <p:nvSpPr>
            <p:cNvPr id="56" name="Google Shape;56;p12"/>
            <p:cNvSpPr/>
            <p:nvPr/>
          </p:nvSpPr>
          <p:spPr>
            <a:xfrm>
              <a:off x="428" y="3990"/>
              <a:ext cx="66" cy="98"/>
            </a:xfrm>
            <a:custGeom>
              <a:avLst/>
              <a:gdLst/>
              <a:ahLst/>
              <a:cxnLst/>
              <a:rect l="l" t="t" r="r" b="b"/>
              <a:pathLst>
                <a:path w="2176" h="3230" extrusionOk="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57;p12"/>
            <p:cNvSpPr/>
            <p:nvPr/>
          </p:nvSpPr>
          <p:spPr>
            <a:xfrm>
              <a:off x="505" y="3991"/>
              <a:ext cx="85" cy="97"/>
            </a:xfrm>
            <a:custGeom>
              <a:avLst/>
              <a:gdLst/>
              <a:ahLst/>
              <a:cxnLst/>
              <a:rect l="l" t="t" r="r" b="b"/>
              <a:pathLst>
                <a:path w="2769" h="3192" extrusionOk="0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58;p12"/>
            <p:cNvSpPr/>
            <p:nvPr/>
          </p:nvSpPr>
          <p:spPr>
            <a:xfrm>
              <a:off x="608" y="3990"/>
              <a:ext cx="46" cy="97"/>
            </a:xfrm>
            <a:custGeom>
              <a:avLst/>
              <a:gdLst/>
              <a:ahLst/>
              <a:cxnLst/>
              <a:rect l="l" t="t" r="r" b="b"/>
              <a:pathLst>
                <a:path w="1508" h="3192" extrusionOk="0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59;p12"/>
            <p:cNvSpPr/>
            <p:nvPr/>
          </p:nvSpPr>
          <p:spPr>
            <a:xfrm>
              <a:off x="664" y="3952"/>
              <a:ext cx="28" cy="135"/>
            </a:xfrm>
            <a:custGeom>
              <a:avLst/>
              <a:gdLst/>
              <a:ahLst/>
              <a:cxnLst/>
              <a:rect l="l" t="t" r="r" b="b"/>
              <a:pathLst>
                <a:path w="934" h="4454" extrusionOk="0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60;p12"/>
            <p:cNvSpPr/>
            <p:nvPr/>
          </p:nvSpPr>
          <p:spPr>
            <a:xfrm>
              <a:off x="702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1" h="3230" extrusionOk="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61;p12"/>
            <p:cNvSpPr/>
            <p:nvPr/>
          </p:nvSpPr>
          <p:spPr>
            <a:xfrm>
              <a:off x="814" y="3990"/>
              <a:ext cx="88" cy="97"/>
            </a:xfrm>
            <a:custGeom>
              <a:avLst/>
              <a:gdLst/>
              <a:ahLst/>
              <a:cxnLst/>
              <a:rect l="l" t="t" r="r" b="b"/>
              <a:pathLst>
                <a:path w="2893" h="3211" extrusionOk="0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62;p12"/>
            <p:cNvSpPr/>
            <p:nvPr/>
          </p:nvSpPr>
          <p:spPr>
            <a:xfrm>
              <a:off x="316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0" h="3230" extrusionOk="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3" name="Google Shape;63;p12"/>
          <p:cNvSpPr txBox="1">
            <a:spLocks noGrp="1"/>
          </p:cNvSpPr>
          <p:nvPr>
            <p:ph type="body" idx="2"/>
          </p:nvPr>
        </p:nvSpPr>
        <p:spPr>
          <a:xfrm>
            <a:off x="6599238" y="6012655"/>
            <a:ext cx="3435350" cy="531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 b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 sz="1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175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 sz="1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 sz="1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" name="Google Shape;64;p12"/>
          <p:cNvSpPr txBox="1">
            <a:spLocks noGrp="1"/>
          </p:cNvSpPr>
          <p:nvPr>
            <p:ph type="body" idx="3"/>
          </p:nvPr>
        </p:nvSpPr>
        <p:spPr>
          <a:xfrm>
            <a:off x="10160000" y="6012655"/>
            <a:ext cx="1534575" cy="531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 b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 sz="1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175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 sz="1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 sz="1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12"/>
          <p:cNvSpPr>
            <a:spLocks noGrp="1"/>
          </p:cNvSpPr>
          <p:nvPr>
            <p:ph type="pic" idx="4"/>
          </p:nvPr>
        </p:nvSpPr>
        <p:spPr>
          <a:xfrm>
            <a:off x="6094095" y="0"/>
            <a:ext cx="6099048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72672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4">
  <p:cSld name="Title Slide 4">
    <p:bg>
      <p:bgPr>
        <a:solidFill>
          <a:schemeClr val="lt1"/>
        </a:solidFill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14"/>
          <p:cNvSpPr>
            <a:spLocks noGrp="1"/>
          </p:cNvSpPr>
          <p:nvPr>
            <p:ph type="pic" idx="2"/>
          </p:nvPr>
        </p:nvSpPr>
        <p:spPr>
          <a:xfrm>
            <a:off x="1524" y="0"/>
            <a:ext cx="12188952" cy="55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3" name="Google Shape;83;p14"/>
          <p:cNvSpPr/>
          <p:nvPr/>
        </p:nvSpPr>
        <p:spPr>
          <a:xfrm>
            <a:off x="0" y="5598000"/>
            <a:ext cx="6096000" cy="1260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" name="Google Shape;84;p14"/>
          <p:cNvSpPr/>
          <p:nvPr/>
        </p:nvSpPr>
        <p:spPr>
          <a:xfrm>
            <a:off x="6096000" y="5598000"/>
            <a:ext cx="6096000" cy="12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" name="Google Shape;85;p14"/>
          <p:cNvSpPr txBox="1">
            <a:spLocks noGrp="1"/>
          </p:cNvSpPr>
          <p:nvPr>
            <p:ph type="ctrTitle"/>
          </p:nvPr>
        </p:nvSpPr>
        <p:spPr>
          <a:xfrm>
            <a:off x="515939" y="140677"/>
            <a:ext cx="5454650" cy="24536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Calibri"/>
              <a:buNone/>
              <a:defRPr sz="5200" b="0" i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" name="Google Shape;86;p14"/>
          <p:cNvSpPr txBox="1">
            <a:spLocks noGrp="1"/>
          </p:cNvSpPr>
          <p:nvPr>
            <p:ph type="subTitle" idx="1"/>
          </p:nvPr>
        </p:nvSpPr>
        <p:spPr>
          <a:xfrm>
            <a:off x="515938" y="3022209"/>
            <a:ext cx="4086542" cy="20105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87" name="Google Shape;87;p14"/>
          <p:cNvGrpSpPr/>
          <p:nvPr/>
        </p:nvGrpSpPr>
        <p:grpSpPr>
          <a:xfrm>
            <a:off x="504030" y="5995713"/>
            <a:ext cx="1527969" cy="354615"/>
            <a:chOff x="316" y="3952"/>
            <a:chExt cx="586" cy="136"/>
          </a:xfrm>
        </p:grpSpPr>
        <p:sp>
          <p:nvSpPr>
            <p:cNvPr id="88" name="Google Shape;88;p14"/>
            <p:cNvSpPr/>
            <p:nvPr/>
          </p:nvSpPr>
          <p:spPr>
            <a:xfrm>
              <a:off x="428" y="3990"/>
              <a:ext cx="66" cy="98"/>
            </a:xfrm>
            <a:custGeom>
              <a:avLst/>
              <a:gdLst/>
              <a:ahLst/>
              <a:cxnLst/>
              <a:rect l="l" t="t" r="r" b="b"/>
              <a:pathLst>
                <a:path w="2176" h="3230" extrusionOk="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" name="Google Shape;89;p14"/>
            <p:cNvSpPr/>
            <p:nvPr/>
          </p:nvSpPr>
          <p:spPr>
            <a:xfrm>
              <a:off x="505" y="3991"/>
              <a:ext cx="85" cy="97"/>
            </a:xfrm>
            <a:custGeom>
              <a:avLst/>
              <a:gdLst/>
              <a:ahLst/>
              <a:cxnLst/>
              <a:rect l="l" t="t" r="r" b="b"/>
              <a:pathLst>
                <a:path w="2769" h="3192" extrusionOk="0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" name="Google Shape;90;p14"/>
            <p:cNvSpPr/>
            <p:nvPr/>
          </p:nvSpPr>
          <p:spPr>
            <a:xfrm>
              <a:off x="608" y="3990"/>
              <a:ext cx="46" cy="97"/>
            </a:xfrm>
            <a:custGeom>
              <a:avLst/>
              <a:gdLst/>
              <a:ahLst/>
              <a:cxnLst/>
              <a:rect l="l" t="t" r="r" b="b"/>
              <a:pathLst>
                <a:path w="1508" h="3192" extrusionOk="0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14"/>
            <p:cNvSpPr/>
            <p:nvPr/>
          </p:nvSpPr>
          <p:spPr>
            <a:xfrm>
              <a:off x="664" y="3952"/>
              <a:ext cx="28" cy="135"/>
            </a:xfrm>
            <a:custGeom>
              <a:avLst/>
              <a:gdLst/>
              <a:ahLst/>
              <a:cxnLst/>
              <a:rect l="l" t="t" r="r" b="b"/>
              <a:pathLst>
                <a:path w="934" h="4454" extrusionOk="0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" name="Google Shape;92;p14"/>
            <p:cNvSpPr/>
            <p:nvPr/>
          </p:nvSpPr>
          <p:spPr>
            <a:xfrm>
              <a:off x="702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1" h="3230" extrusionOk="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" name="Google Shape;93;p14"/>
            <p:cNvSpPr/>
            <p:nvPr/>
          </p:nvSpPr>
          <p:spPr>
            <a:xfrm>
              <a:off x="814" y="3990"/>
              <a:ext cx="88" cy="97"/>
            </a:xfrm>
            <a:custGeom>
              <a:avLst/>
              <a:gdLst/>
              <a:ahLst/>
              <a:cxnLst/>
              <a:rect l="l" t="t" r="r" b="b"/>
              <a:pathLst>
                <a:path w="2893" h="3211" extrusionOk="0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94;p14"/>
            <p:cNvSpPr/>
            <p:nvPr/>
          </p:nvSpPr>
          <p:spPr>
            <a:xfrm>
              <a:off x="316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0" h="3230" extrusionOk="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5" name="Google Shape;95;p14"/>
          <p:cNvSpPr txBox="1">
            <a:spLocks noGrp="1"/>
          </p:cNvSpPr>
          <p:nvPr>
            <p:ph type="body" idx="3"/>
          </p:nvPr>
        </p:nvSpPr>
        <p:spPr>
          <a:xfrm>
            <a:off x="6599238" y="6012655"/>
            <a:ext cx="3435350" cy="531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 b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 sz="1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175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 sz="1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 sz="1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14"/>
          <p:cNvSpPr txBox="1">
            <a:spLocks noGrp="1"/>
          </p:cNvSpPr>
          <p:nvPr>
            <p:ph type="body" idx="4"/>
          </p:nvPr>
        </p:nvSpPr>
        <p:spPr>
          <a:xfrm>
            <a:off x="10160000" y="6012655"/>
            <a:ext cx="1534575" cy="531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 b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 sz="1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175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 sz="1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 sz="1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13997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1">
  <p:cSld name="Section Header 1">
    <p:bg>
      <p:bgPr>
        <a:solidFill>
          <a:schemeClr val="lt1"/>
        </a:solidFill>
        <a:effectLst/>
      </p:bgPr>
    </p:bg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18"/>
          <p:cNvSpPr/>
          <p:nvPr/>
        </p:nvSpPr>
        <p:spPr>
          <a:xfrm>
            <a:off x="0" y="0"/>
            <a:ext cx="2286000" cy="178117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" name="Google Shape;119;p18"/>
          <p:cNvSpPr/>
          <p:nvPr/>
        </p:nvSpPr>
        <p:spPr>
          <a:xfrm>
            <a:off x="0" y="1781175"/>
            <a:ext cx="2286000" cy="5076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" name="Google Shape;120;p18"/>
          <p:cNvSpPr txBox="1">
            <a:spLocks noGrp="1"/>
          </p:cNvSpPr>
          <p:nvPr>
            <p:ph type="ctrTitle"/>
          </p:nvPr>
        </p:nvSpPr>
        <p:spPr>
          <a:xfrm>
            <a:off x="2781574" y="446744"/>
            <a:ext cx="6298925" cy="21475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18"/>
          <p:cNvSpPr txBox="1">
            <a:spLocks noGrp="1"/>
          </p:cNvSpPr>
          <p:nvPr>
            <p:ph type="subTitle" idx="1"/>
          </p:nvPr>
        </p:nvSpPr>
        <p:spPr>
          <a:xfrm>
            <a:off x="2789057" y="2762591"/>
            <a:ext cx="6291442" cy="674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1500" b="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22" name="Google Shape;122;p18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" name="Google Shape;123;p18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4" name="Google Shape;124;p18"/>
          <p:cNvSpPr txBox="1">
            <a:spLocks noGrp="1"/>
          </p:cNvSpPr>
          <p:nvPr>
            <p:ph type="body" idx="2"/>
          </p:nvPr>
        </p:nvSpPr>
        <p:spPr>
          <a:xfrm>
            <a:off x="182879" y="273607"/>
            <a:ext cx="1944810" cy="14285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80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25" name="Google Shape;125;p18"/>
          <p:cNvGrpSpPr/>
          <p:nvPr/>
        </p:nvGrpSpPr>
        <p:grpSpPr>
          <a:xfrm>
            <a:off x="504031" y="6390186"/>
            <a:ext cx="918000" cy="213052"/>
            <a:chOff x="316" y="3952"/>
            <a:chExt cx="586" cy="136"/>
          </a:xfrm>
        </p:grpSpPr>
        <p:sp>
          <p:nvSpPr>
            <p:cNvPr id="126" name="Google Shape;126;p18"/>
            <p:cNvSpPr/>
            <p:nvPr/>
          </p:nvSpPr>
          <p:spPr>
            <a:xfrm>
              <a:off x="428" y="3990"/>
              <a:ext cx="66" cy="98"/>
            </a:xfrm>
            <a:custGeom>
              <a:avLst/>
              <a:gdLst/>
              <a:ahLst/>
              <a:cxnLst/>
              <a:rect l="l" t="t" r="r" b="b"/>
              <a:pathLst>
                <a:path w="2176" h="3230" extrusionOk="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127;p18"/>
            <p:cNvSpPr/>
            <p:nvPr/>
          </p:nvSpPr>
          <p:spPr>
            <a:xfrm>
              <a:off x="505" y="3991"/>
              <a:ext cx="85" cy="97"/>
            </a:xfrm>
            <a:custGeom>
              <a:avLst/>
              <a:gdLst/>
              <a:ahLst/>
              <a:cxnLst/>
              <a:rect l="l" t="t" r="r" b="b"/>
              <a:pathLst>
                <a:path w="2769" h="3192" extrusionOk="0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128;p18"/>
            <p:cNvSpPr/>
            <p:nvPr/>
          </p:nvSpPr>
          <p:spPr>
            <a:xfrm>
              <a:off x="608" y="3990"/>
              <a:ext cx="46" cy="97"/>
            </a:xfrm>
            <a:custGeom>
              <a:avLst/>
              <a:gdLst/>
              <a:ahLst/>
              <a:cxnLst/>
              <a:rect l="l" t="t" r="r" b="b"/>
              <a:pathLst>
                <a:path w="1508" h="3192" extrusionOk="0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129;p18"/>
            <p:cNvSpPr/>
            <p:nvPr/>
          </p:nvSpPr>
          <p:spPr>
            <a:xfrm>
              <a:off x="664" y="3952"/>
              <a:ext cx="28" cy="135"/>
            </a:xfrm>
            <a:custGeom>
              <a:avLst/>
              <a:gdLst/>
              <a:ahLst/>
              <a:cxnLst/>
              <a:rect l="l" t="t" r="r" b="b"/>
              <a:pathLst>
                <a:path w="934" h="4454" extrusionOk="0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130;p18"/>
            <p:cNvSpPr/>
            <p:nvPr/>
          </p:nvSpPr>
          <p:spPr>
            <a:xfrm>
              <a:off x="702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1" h="3230" extrusionOk="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131;p18"/>
            <p:cNvSpPr/>
            <p:nvPr/>
          </p:nvSpPr>
          <p:spPr>
            <a:xfrm>
              <a:off x="814" y="3990"/>
              <a:ext cx="88" cy="97"/>
            </a:xfrm>
            <a:custGeom>
              <a:avLst/>
              <a:gdLst/>
              <a:ahLst/>
              <a:cxnLst/>
              <a:rect l="l" t="t" r="r" b="b"/>
              <a:pathLst>
                <a:path w="2893" h="3211" extrusionOk="0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132;p18"/>
            <p:cNvSpPr/>
            <p:nvPr/>
          </p:nvSpPr>
          <p:spPr>
            <a:xfrm>
              <a:off x="316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0" h="3230" extrusionOk="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8976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2">
  <p:cSld name="Section Header 2">
    <p:bg>
      <p:bgPr>
        <a:solidFill>
          <a:schemeClr val="dk1"/>
        </a:solidFill>
        <a:effectLst/>
      </p:bgPr>
    </p:bg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19"/>
          <p:cNvSpPr/>
          <p:nvPr/>
        </p:nvSpPr>
        <p:spPr>
          <a:xfrm>
            <a:off x="0" y="0"/>
            <a:ext cx="2286000" cy="1781175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" name="Google Shape;135;p19"/>
          <p:cNvSpPr/>
          <p:nvPr/>
        </p:nvSpPr>
        <p:spPr>
          <a:xfrm>
            <a:off x="0" y="1781175"/>
            <a:ext cx="2286000" cy="50768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" name="Google Shape;136;p19"/>
          <p:cNvSpPr txBox="1">
            <a:spLocks noGrp="1"/>
          </p:cNvSpPr>
          <p:nvPr>
            <p:ph type="ctrTitle"/>
          </p:nvPr>
        </p:nvSpPr>
        <p:spPr>
          <a:xfrm>
            <a:off x="2781574" y="446744"/>
            <a:ext cx="6298925" cy="21475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Calibri"/>
              <a:buNone/>
              <a:defRPr sz="4400" b="0" i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" name="Google Shape;137;p19"/>
          <p:cNvSpPr txBox="1">
            <a:spLocks noGrp="1"/>
          </p:cNvSpPr>
          <p:nvPr>
            <p:ph type="subTitle" idx="1"/>
          </p:nvPr>
        </p:nvSpPr>
        <p:spPr>
          <a:xfrm>
            <a:off x="2789057" y="2762591"/>
            <a:ext cx="6291442" cy="674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 sz="1500" b="0">
                <a:solidFill>
                  <a:schemeClr val="lt1"/>
                </a:solidFill>
              </a:defRPr>
            </a:lvl1pPr>
            <a:lvl2pPr lvl="1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38" name="Google Shape;138;p19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" name="Google Shape;139;p19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0" name="Google Shape;140;p19"/>
          <p:cNvSpPr txBox="1">
            <a:spLocks noGrp="1"/>
          </p:cNvSpPr>
          <p:nvPr>
            <p:ph type="body" idx="2"/>
          </p:nvPr>
        </p:nvSpPr>
        <p:spPr>
          <a:xfrm>
            <a:off x="182879" y="273607"/>
            <a:ext cx="1944810" cy="14285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0"/>
              <a:buNone/>
              <a:defRPr sz="80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41" name="Google Shape;141;p19"/>
          <p:cNvGrpSpPr/>
          <p:nvPr/>
        </p:nvGrpSpPr>
        <p:grpSpPr>
          <a:xfrm>
            <a:off x="504031" y="6390186"/>
            <a:ext cx="918000" cy="213052"/>
            <a:chOff x="316" y="3952"/>
            <a:chExt cx="586" cy="136"/>
          </a:xfrm>
        </p:grpSpPr>
        <p:sp>
          <p:nvSpPr>
            <p:cNvPr id="142" name="Google Shape;142;p19"/>
            <p:cNvSpPr/>
            <p:nvPr/>
          </p:nvSpPr>
          <p:spPr>
            <a:xfrm>
              <a:off x="428" y="3990"/>
              <a:ext cx="66" cy="98"/>
            </a:xfrm>
            <a:custGeom>
              <a:avLst/>
              <a:gdLst/>
              <a:ahLst/>
              <a:cxnLst/>
              <a:rect l="l" t="t" r="r" b="b"/>
              <a:pathLst>
                <a:path w="2176" h="3230" extrusionOk="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143;p19"/>
            <p:cNvSpPr/>
            <p:nvPr/>
          </p:nvSpPr>
          <p:spPr>
            <a:xfrm>
              <a:off x="505" y="3991"/>
              <a:ext cx="85" cy="97"/>
            </a:xfrm>
            <a:custGeom>
              <a:avLst/>
              <a:gdLst/>
              <a:ahLst/>
              <a:cxnLst/>
              <a:rect l="l" t="t" r="r" b="b"/>
              <a:pathLst>
                <a:path w="2769" h="3192" extrusionOk="0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144;p19"/>
            <p:cNvSpPr/>
            <p:nvPr/>
          </p:nvSpPr>
          <p:spPr>
            <a:xfrm>
              <a:off x="608" y="3990"/>
              <a:ext cx="46" cy="97"/>
            </a:xfrm>
            <a:custGeom>
              <a:avLst/>
              <a:gdLst/>
              <a:ahLst/>
              <a:cxnLst/>
              <a:rect l="l" t="t" r="r" b="b"/>
              <a:pathLst>
                <a:path w="1508" h="3192" extrusionOk="0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145;p19"/>
            <p:cNvSpPr/>
            <p:nvPr/>
          </p:nvSpPr>
          <p:spPr>
            <a:xfrm>
              <a:off x="664" y="3952"/>
              <a:ext cx="28" cy="135"/>
            </a:xfrm>
            <a:custGeom>
              <a:avLst/>
              <a:gdLst/>
              <a:ahLst/>
              <a:cxnLst/>
              <a:rect l="l" t="t" r="r" b="b"/>
              <a:pathLst>
                <a:path w="934" h="4454" extrusionOk="0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146;p19"/>
            <p:cNvSpPr/>
            <p:nvPr/>
          </p:nvSpPr>
          <p:spPr>
            <a:xfrm>
              <a:off x="702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1" h="3230" extrusionOk="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147;p19"/>
            <p:cNvSpPr/>
            <p:nvPr/>
          </p:nvSpPr>
          <p:spPr>
            <a:xfrm>
              <a:off x="814" y="3990"/>
              <a:ext cx="88" cy="97"/>
            </a:xfrm>
            <a:custGeom>
              <a:avLst/>
              <a:gdLst/>
              <a:ahLst/>
              <a:cxnLst/>
              <a:rect l="l" t="t" r="r" b="b"/>
              <a:pathLst>
                <a:path w="2893" h="3211" extrusionOk="0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148;p19"/>
            <p:cNvSpPr/>
            <p:nvPr/>
          </p:nvSpPr>
          <p:spPr>
            <a:xfrm>
              <a:off x="316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0" h="3230" extrusionOk="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1190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3">
  <p:cSld name="Section Header 3">
    <p:bg>
      <p:bgPr>
        <a:solidFill>
          <a:schemeClr val="accent1"/>
        </a:solid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Google Shape;150;p20"/>
          <p:cNvSpPr/>
          <p:nvPr/>
        </p:nvSpPr>
        <p:spPr>
          <a:xfrm>
            <a:off x="0" y="0"/>
            <a:ext cx="2286000" cy="1781175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1" name="Google Shape;151;p20"/>
          <p:cNvSpPr/>
          <p:nvPr/>
        </p:nvSpPr>
        <p:spPr>
          <a:xfrm>
            <a:off x="0" y="1781175"/>
            <a:ext cx="2286000" cy="507682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2" name="Google Shape;152;p20"/>
          <p:cNvSpPr txBox="1">
            <a:spLocks noGrp="1"/>
          </p:cNvSpPr>
          <p:nvPr>
            <p:ph type="ctrTitle"/>
          </p:nvPr>
        </p:nvSpPr>
        <p:spPr>
          <a:xfrm>
            <a:off x="2781574" y="446744"/>
            <a:ext cx="6298925" cy="21475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Calibri"/>
              <a:buNone/>
              <a:defRPr sz="4400" b="0" i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3" name="Google Shape;153;p20"/>
          <p:cNvSpPr txBox="1">
            <a:spLocks noGrp="1"/>
          </p:cNvSpPr>
          <p:nvPr>
            <p:ph type="subTitle" idx="1"/>
          </p:nvPr>
        </p:nvSpPr>
        <p:spPr>
          <a:xfrm>
            <a:off x="2789057" y="2762591"/>
            <a:ext cx="6291442" cy="674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 sz="1500" b="0">
                <a:solidFill>
                  <a:schemeClr val="lt1"/>
                </a:solidFill>
              </a:defRPr>
            </a:lvl1pPr>
            <a:lvl2pPr lvl="1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54" name="Google Shape;154;p20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" name="Google Shape;155;p20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6" name="Google Shape;156;p20"/>
          <p:cNvSpPr txBox="1">
            <a:spLocks noGrp="1"/>
          </p:cNvSpPr>
          <p:nvPr>
            <p:ph type="body" idx="2"/>
          </p:nvPr>
        </p:nvSpPr>
        <p:spPr>
          <a:xfrm>
            <a:off x="182879" y="273607"/>
            <a:ext cx="1944810" cy="14285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0"/>
              <a:buNone/>
              <a:defRPr sz="80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57" name="Google Shape;157;p20"/>
          <p:cNvGrpSpPr/>
          <p:nvPr/>
        </p:nvGrpSpPr>
        <p:grpSpPr>
          <a:xfrm>
            <a:off x="504031" y="6390186"/>
            <a:ext cx="918000" cy="213052"/>
            <a:chOff x="316" y="3952"/>
            <a:chExt cx="586" cy="136"/>
          </a:xfrm>
        </p:grpSpPr>
        <p:sp>
          <p:nvSpPr>
            <p:cNvPr id="158" name="Google Shape;158;p20"/>
            <p:cNvSpPr/>
            <p:nvPr/>
          </p:nvSpPr>
          <p:spPr>
            <a:xfrm>
              <a:off x="428" y="3990"/>
              <a:ext cx="66" cy="98"/>
            </a:xfrm>
            <a:custGeom>
              <a:avLst/>
              <a:gdLst/>
              <a:ahLst/>
              <a:cxnLst/>
              <a:rect l="l" t="t" r="r" b="b"/>
              <a:pathLst>
                <a:path w="2176" h="3230" extrusionOk="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159;p20"/>
            <p:cNvSpPr/>
            <p:nvPr/>
          </p:nvSpPr>
          <p:spPr>
            <a:xfrm>
              <a:off x="505" y="3991"/>
              <a:ext cx="85" cy="97"/>
            </a:xfrm>
            <a:custGeom>
              <a:avLst/>
              <a:gdLst/>
              <a:ahLst/>
              <a:cxnLst/>
              <a:rect l="l" t="t" r="r" b="b"/>
              <a:pathLst>
                <a:path w="2769" h="3192" extrusionOk="0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160;p20"/>
            <p:cNvSpPr/>
            <p:nvPr/>
          </p:nvSpPr>
          <p:spPr>
            <a:xfrm>
              <a:off x="608" y="3990"/>
              <a:ext cx="46" cy="97"/>
            </a:xfrm>
            <a:custGeom>
              <a:avLst/>
              <a:gdLst/>
              <a:ahLst/>
              <a:cxnLst/>
              <a:rect l="l" t="t" r="r" b="b"/>
              <a:pathLst>
                <a:path w="1508" h="3192" extrusionOk="0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161;p20"/>
            <p:cNvSpPr/>
            <p:nvPr/>
          </p:nvSpPr>
          <p:spPr>
            <a:xfrm>
              <a:off x="664" y="3952"/>
              <a:ext cx="28" cy="135"/>
            </a:xfrm>
            <a:custGeom>
              <a:avLst/>
              <a:gdLst/>
              <a:ahLst/>
              <a:cxnLst/>
              <a:rect l="l" t="t" r="r" b="b"/>
              <a:pathLst>
                <a:path w="934" h="4454" extrusionOk="0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162;p20"/>
            <p:cNvSpPr/>
            <p:nvPr/>
          </p:nvSpPr>
          <p:spPr>
            <a:xfrm>
              <a:off x="702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1" h="3230" extrusionOk="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163;p20"/>
            <p:cNvSpPr/>
            <p:nvPr/>
          </p:nvSpPr>
          <p:spPr>
            <a:xfrm>
              <a:off x="814" y="3990"/>
              <a:ext cx="88" cy="97"/>
            </a:xfrm>
            <a:custGeom>
              <a:avLst/>
              <a:gdLst/>
              <a:ahLst/>
              <a:cxnLst/>
              <a:rect l="l" t="t" r="r" b="b"/>
              <a:pathLst>
                <a:path w="2893" h="3211" extrusionOk="0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164;p20"/>
            <p:cNvSpPr/>
            <p:nvPr/>
          </p:nvSpPr>
          <p:spPr>
            <a:xfrm>
              <a:off x="316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0" h="3230" extrusionOk="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54917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4">
  <p:cSld name="Section Header 4">
    <p:bg>
      <p:bgPr>
        <a:solidFill>
          <a:schemeClr val="accent2"/>
        </a:solidFill>
        <a:effectLst/>
      </p:bgPr>
    </p:bg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p21"/>
          <p:cNvSpPr>
            <a:spLocks noGrp="1"/>
          </p:cNvSpPr>
          <p:nvPr>
            <p:ph type="pic" idx="2"/>
          </p:nvPr>
        </p:nvSpPr>
        <p:spPr>
          <a:xfrm>
            <a:off x="4572000" y="0"/>
            <a:ext cx="76200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7" name="Google Shape;167;p21"/>
          <p:cNvSpPr txBox="1">
            <a:spLocks noGrp="1"/>
          </p:cNvSpPr>
          <p:nvPr>
            <p:ph type="ctrTitle"/>
          </p:nvPr>
        </p:nvSpPr>
        <p:spPr>
          <a:xfrm>
            <a:off x="535141" y="446743"/>
            <a:ext cx="3778097" cy="26903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Calibri"/>
              <a:buNone/>
              <a:defRPr sz="4400" b="0" i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" name="Google Shape;168;p21"/>
          <p:cNvSpPr txBox="1">
            <a:spLocks noGrp="1"/>
          </p:cNvSpPr>
          <p:nvPr>
            <p:ph type="subTitle" idx="1"/>
          </p:nvPr>
        </p:nvSpPr>
        <p:spPr>
          <a:xfrm>
            <a:off x="542624" y="3436643"/>
            <a:ext cx="3773609" cy="674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 sz="1500" b="0">
                <a:solidFill>
                  <a:schemeClr val="lt1"/>
                </a:solidFill>
              </a:defRPr>
            </a:lvl1pPr>
            <a:lvl2pPr lvl="1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69" name="Google Shape;169;p21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" name="Google Shape;170;p21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71" name="Google Shape;171;p21"/>
          <p:cNvGrpSpPr/>
          <p:nvPr/>
        </p:nvGrpSpPr>
        <p:grpSpPr>
          <a:xfrm>
            <a:off x="504031" y="6390186"/>
            <a:ext cx="918000" cy="213052"/>
            <a:chOff x="316" y="3952"/>
            <a:chExt cx="586" cy="136"/>
          </a:xfrm>
        </p:grpSpPr>
        <p:sp>
          <p:nvSpPr>
            <p:cNvPr id="172" name="Google Shape;172;p21"/>
            <p:cNvSpPr/>
            <p:nvPr/>
          </p:nvSpPr>
          <p:spPr>
            <a:xfrm>
              <a:off x="428" y="3990"/>
              <a:ext cx="66" cy="98"/>
            </a:xfrm>
            <a:custGeom>
              <a:avLst/>
              <a:gdLst/>
              <a:ahLst/>
              <a:cxnLst/>
              <a:rect l="l" t="t" r="r" b="b"/>
              <a:pathLst>
                <a:path w="2176" h="3230" extrusionOk="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173;p21"/>
            <p:cNvSpPr/>
            <p:nvPr/>
          </p:nvSpPr>
          <p:spPr>
            <a:xfrm>
              <a:off x="505" y="3991"/>
              <a:ext cx="85" cy="97"/>
            </a:xfrm>
            <a:custGeom>
              <a:avLst/>
              <a:gdLst/>
              <a:ahLst/>
              <a:cxnLst/>
              <a:rect l="l" t="t" r="r" b="b"/>
              <a:pathLst>
                <a:path w="2769" h="3192" extrusionOk="0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174;p21"/>
            <p:cNvSpPr/>
            <p:nvPr/>
          </p:nvSpPr>
          <p:spPr>
            <a:xfrm>
              <a:off x="608" y="3990"/>
              <a:ext cx="46" cy="97"/>
            </a:xfrm>
            <a:custGeom>
              <a:avLst/>
              <a:gdLst/>
              <a:ahLst/>
              <a:cxnLst/>
              <a:rect l="l" t="t" r="r" b="b"/>
              <a:pathLst>
                <a:path w="1508" h="3192" extrusionOk="0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21"/>
            <p:cNvSpPr/>
            <p:nvPr/>
          </p:nvSpPr>
          <p:spPr>
            <a:xfrm>
              <a:off x="664" y="3952"/>
              <a:ext cx="28" cy="135"/>
            </a:xfrm>
            <a:custGeom>
              <a:avLst/>
              <a:gdLst/>
              <a:ahLst/>
              <a:cxnLst/>
              <a:rect l="l" t="t" r="r" b="b"/>
              <a:pathLst>
                <a:path w="934" h="4454" extrusionOk="0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176;p21"/>
            <p:cNvSpPr/>
            <p:nvPr/>
          </p:nvSpPr>
          <p:spPr>
            <a:xfrm>
              <a:off x="702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1" h="3230" extrusionOk="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177;p21"/>
            <p:cNvSpPr/>
            <p:nvPr/>
          </p:nvSpPr>
          <p:spPr>
            <a:xfrm>
              <a:off x="814" y="3990"/>
              <a:ext cx="88" cy="97"/>
            </a:xfrm>
            <a:custGeom>
              <a:avLst/>
              <a:gdLst/>
              <a:ahLst/>
              <a:cxnLst/>
              <a:rect l="l" t="t" r="r" b="b"/>
              <a:pathLst>
                <a:path w="2893" h="3211" extrusionOk="0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178;p21"/>
            <p:cNvSpPr/>
            <p:nvPr/>
          </p:nvSpPr>
          <p:spPr>
            <a:xfrm>
              <a:off x="316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0" h="3230" extrusionOk="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05779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5">
  <p:cSld name="Section Header 5">
    <p:bg>
      <p:bgPr>
        <a:solidFill>
          <a:schemeClr val="accent1"/>
        </a:solidFill>
        <a:effectLst/>
      </p:bgPr>
    </p:bg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p22"/>
          <p:cNvSpPr>
            <a:spLocks noGrp="1"/>
          </p:cNvSpPr>
          <p:nvPr>
            <p:ph type="pic" idx="2"/>
          </p:nvPr>
        </p:nvSpPr>
        <p:spPr>
          <a:xfrm>
            <a:off x="4572000" y="0"/>
            <a:ext cx="76200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1" name="Google Shape;181;p22"/>
          <p:cNvSpPr txBox="1">
            <a:spLocks noGrp="1"/>
          </p:cNvSpPr>
          <p:nvPr>
            <p:ph type="ctrTitle"/>
          </p:nvPr>
        </p:nvSpPr>
        <p:spPr>
          <a:xfrm>
            <a:off x="535141" y="446743"/>
            <a:ext cx="3778097" cy="26903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Calibri"/>
              <a:buNone/>
              <a:defRPr sz="4400" b="0" i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" name="Google Shape;182;p22"/>
          <p:cNvSpPr txBox="1">
            <a:spLocks noGrp="1"/>
          </p:cNvSpPr>
          <p:nvPr>
            <p:ph type="subTitle" idx="1"/>
          </p:nvPr>
        </p:nvSpPr>
        <p:spPr>
          <a:xfrm>
            <a:off x="542624" y="3436643"/>
            <a:ext cx="3773609" cy="674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 sz="1500" b="0">
                <a:solidFill>
                  <a:schemeClr val="lt1"/>
                </a:solidFill>
              </a:defRPr>
            </a:lvl1pPr>
            <a:lvl2pPr lvl="1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3" name="Google Shape;183;p22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" name="Google Shape;184;p22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85" name="Google Shape;185;p22"/>
          <p:cNvGrpSpPr/>
          <p:nvPr/>
        </p:nvGrpSpPr>
        <p:grpSpPr>
          <a:xfrm>
            <a:off x="504031" y="6390186"/>
            <a:ext cx="918000" cy="213052"/>
            <a:chOff x="316" y="3952"/>
            <a:chExt cx="586" cy="136"/>
          </a:xfrm>
        </p:grpSpPr>
        <p:sp>
          <p:nvSpPr>
            <p:cNvPr id="186" name="Google Shape;186;p22"/>
            <p:cNvSpPr/>
            <p:nvPr/>
          </p:nvSpPr>
          <p:spPr>
            <a:xfrm>
              <a:off x="428" y="3990"/>
              <a:ext cx="66" cy="98"/>
            </a:xfrm>
            <a:custGeom>
              <a:avLst/>
              <a:gdLst/>
              <a:ahLst/>
              <a:cxnLst/>
              <a:rect l="l" t="t" r="r" b="b"/>
              <a:pathLst>
                <a:path w="2176" h="3230" extrusionOk="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187;p22"/>
            <p:cNvSpPr/>
            <p:nvPr/>
          </p:nvSpPr>
          <p:spPr>
            <a:xfrm>
              <a:off x="505" y="3991"/>
              <a:ext cx="85" cy="97"/>
            </a:xfrm>
            <a:custGeom>
              <a:avLst/>
              <a:gdLst/>
              <a:ahLst/>
              <a:cxnLst/>
              <a:rect l="l" t="t" r="r" b="b"/>
              <a:pathLst>
                <a:path w="2769" h="3192" extrusionOk="0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188;p22"/>
            <p:cNvSpPr/>
            <p:nvPr/>
          </p:nvSpPr>
          <p:spPr>
            <a:xfrm>
              <a:off x="608" y="3990"/>
              <a:ext cx="46" cy="97"/>
            </a:xfrm>
            <a:custGeom>
              <a:avLst/>
              <a:gdLst/>
              <a:ahLst/>
              <a:cxnLst/>
              <a:rect l="l" t="t" r="r" b="b"/>
              <a:pathLst>
                <a:path w="1508" h="3192" extrusionOk="0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189;p22"/>
            <p:cNvSpPr/>
            <p:nvPr/>
          </p:nvSpPr>
          <p:spPr>
            <a:xfrm>
              <a:off x="664" y="3952"/>
              <a:ext cx="28" cy="135"/>
            </a:xfrm>
            <a:custGeom>
              <a:avLst/>
              <a:gdLst/>
              <a:ahLst/>
              <a:cxnLst/>
              <a:rect l="l" t="t" r="r" b="b"/>
              <a:pathLst>
                <a:path w="934" h="4454" extrusionOk="0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190;p22"/>
            <p:cNvSpPr/>
            <p:nvPr/>
          </p:nvSpPr>
          <p:spPr>
            <a:xfrm>
              <a:off x="702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1" h="3230" extrusionOk="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191;p22"/>
            <p:cNvSpPr/>
            <p:nvPr/>
          </p:nvSpPr>
          <p:spPr>
            <a:xfrm>
              <a:off x="814" y="3990"/>
              <a:ext cx="88" cy="97"/>
            </a:xfrm>
            <a:custGeom>
              <a:avLst/>
              <a:gdLst/>
              <a:ahLst/>
              <a:cxnLst/>
              <a:rect l="l" t="t" r="r" b="b"/>
              <a:pathLst>
                <a:path w="2893" h="3211" extrusionOk="0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192;p22"/>
            <p:cNvSpPr/>
            <p:nvPr/>
          </p:nvSpPr>
          <p:spPr>
            <a:xfrm>
              <a:off x="316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0" h="3230" extrusionOk="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1757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Qu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C235105-E2BB-B241-872E-8B764C2735C7}"/>
              </a:ext>
            </a:extLst>
          </p:cNvPr>
          <p:cNvSpPr/>
          <p:nvPr/>
        </p:nvSpPr>
        <p:spPr>
          <a:xfrm>
            <a:off x="6096000" y="0"/>
            <a:ext cx="3050607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8EFCE1D-E624-4B47-B86B-57779E9F52FC}"/>
              </a:ext>
            </a:extLst>
          </p:cNvPr>
          <p:cNvSpPr/>
          <p:nvPr/>
        </p:nvSpPr>
        <p:spPr>
          <a:xfrm>
            <a:off x="9141393" y="0"/>
            <a:ext cx="3050607" cy="3429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9400735-3BA6-1C44-B9F2-D8576A3F811D}"/>
              </a:ext>
            </a:extLst>
          </p:cNvPr>
          <p:cNvSpPr/>
          <p:nvPr/>
        </p:nvSpPr>
        <p:spPr>
          <a:xfrm>
            <a:off x="6096000" y="3429000"/>
            <a:ext cx="3050607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3CAFAB7-8E16-754B-90EC-4F2AF27FB0CC}"/>
              </a:ext>
            </a:extLst>
          </p:cNvPr>
          <p:cNvSpPr/>
          <p:nvPr/>
        </p:nvSpPr>
        <p:spPr>
          <a:xfrm>
            <a:off x="9141393" y="3429000"/>
            <a:ext cx="3050607" cy="3429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3689"/>
            <a:ext cx="5056675" cy="3329423"/>
          </a:xfrm>
        </p:spPr>
        <p:txBody>
          <a:bodyPr spcCol="54000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046C3961-C530-D643-976B-752E6A3E6D3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43361" y="2144693"/>
            <a:ext cx="2355884" cy="59979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E06E42E7-38E9-9445-A365-51FFE703735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43361" y="5395158"/>
            <a:ext cx="2355884" cy="59979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ECAB8C3D-C645-6B4F-8943-0C2FBE84B98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488754" y="2144693"/>
            <a:ext cx="2355884" cy="59979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3601AE7F-A10B-EB41-8F5A-F2B00DA6B65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88754" y="5395158"/>
            <a:ext cx="2355884" cy="59979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FD3E78BC-709E-E147-87C2-021736A7535D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801042" y="466344"/>
            <a:ext cx="1640752" cy="1495306"/>
          </a:xfrm>
        </p:spPr>
        <p:txBody>
          <a:bodyPr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t>Content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ED8ABA53-CD5D-5D4A-8042-B0835E310760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9851649" y="466344"/>
            <a:ext cx="1640752" cy="1495306"/>
          </a:xfrm>
        </p:spPr>
        <p:txBody>
          <a:bodyPr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t>Content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45E06A9-602E-0A44-84B6-62D407BE4F57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6801042" y="3716809"/>
            <a:ext cx="1640752" cy="1495306"/>
          </a:xfrm>
        </p:spPr>
        <p:txBody>
          <a:bodyPr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t>Content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D79F0669-4F9E-E646-A67C-2FCEBFA523D4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9851649" y="3716809"/>
            <a:ext cx="1640752" cy="1495306"/>
          </a:xfrm>
        </p:spPr>
        <p:txBody>
          <a:bodyPr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3401140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Layouts">
  <p:cSld name="Content Layouts">
    <p:bg>
      <p:bgPr>
        <a:solidFill>
          <a:schemeClr val="dk1"/>
        </a:solidFill>
        <a:effectLst/>
      </p:bgPr>
    </p:bg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p23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" name="Google Shape;195;p23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" name="Google Shape;196;p23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97" name="Google Shape;197;p23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500" b="0" i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CONTENT</a:t>
            </a:r>
            <a:br>
              <a:rPr lang="en-US" sz="11500" b="0" i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1500" b="0" i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LAYOUTS</a:t>
            </a:r>
            <a:endParaRPr/>
          </a:p>
        </p:txBody>
      </p:sp>
      <p:sp>
        <p:nvSpPr>
          <p:cNvPr id="198" name="Google Shape;198;p23"/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20711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">
  <p:cSld name="Three Content"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Google Shape;227;p29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8" name="Google Shape;228;p29"/>
          <p:cNvSpPr txBox="1">
            <a:spLocks noGrp="1"/>
          </p:cNvSpPr>
          <p:nvPr>
            <p:ph type="body" idx="1"/>
          </p:nvPr>
        </p:nvSpPr>
        <p:spPr>
          <a:xfrm>
            <a:off x="500063" y="2520000"/>
            <a:ext cx="3589337" cy="3365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9" name="Google Shape;229;p29"/>
          <p:cNvSpPr txBox="1">
            <a:spLocks noGrp="1"/>
          </p:cNvSpPr>
          <p:nvPr>
            <p:ph type="body" idx="2"/>
          </p:nvPr>
        </p:nvSpPr>
        <p:spPr>
          <a:xfrm>
            <a:off x="4301332" y="2520000"/>
            <a:ext cx="3589337" cy="3365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0" name="Google Shape;230;p29"/>
          <p:cNvSpPr txBox="1">
            <a:spLocks noGrp="1"/>
          </p:cNvSpPr>
          <p:nvPr>
            <p:ph type="body" idx="3"/>
          </p:nvPr>
        </p:nvSpPr>
        <p:spPr>
          <a:xfrm>
            <a:off x="8102601" y="2520000"/>
            <a:ext cx="3589337" cy="3365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1" name="Google Shape;231;p29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2" name="Google Shape;232;p29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20038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Content">
  <p:cSld name="Four Content"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p30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5" name="Google Shape;235;p30"/>
          <p:cNvSpPr txBox="1">
            <a:spLocks noGrp="1"/>
          </p:cNvSpPr>
          <p:nvPr>
            <p:ph type="body" idx="1"/>
          </p:nvPr>
        </p:nvSpPr>
        <p:spPr>
          <a:xfrm>
            <a:off x="500063" y="2520000"/>
            <a:ext cx="2586037" cy="3365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6" name="Google Shape;236;p30"/>
          <p:cNvSpPr txBox="1">
            <a:spLocks noGrp="1"/>
          </p:cNvSpPr>
          <p:nvPr>
            <p:ph type="body" idx="2"/>
          </p:nvPr>
        </p:nvSpPr>
        <p:spPr>
          <a:xfrm>
            <a:off x="3293269" y="2520000"/>
            <a:ext cx="2586037" cy="3365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7" name="Google Shape;237;p30"/>
          <p:cNvSpPr txBox="1">
            <a:spLocks noGrp="1"/>
          </p:cNvSpPr>
          <p:nvPr>
            <p:ph type="body" idx="3"/>
          </p:nvPr>
        </p:nvSpPr>
        <p:spPr>
          <a:xfrm>
            <a:off x="6086475" y="2520000"/>
            <a:ext cx="2586037" cy="3365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8" name="Google Shape;238;p30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9" name="Google Shape;239;p30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40" name="Google Shape;240;p30"/>
          <p:cNvSpPr txBox="1">
            <a:spLocks noGrp="1"/>
          </p:cNvSpPr>
          <p:nvPr>
            <p:ph type="body" idx="4"/>
          </p:nvPr>
        </p:nvSpPr>
        <p:spPr>
          <a:xfrm>
            <a:off x="8879681" y="2520000"/>
            <a:ext cx="2586037" cy="3365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11313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ntent Dark">
  <p:cSld name="One Content Dark">
    <p:bg>
      <p:bgPr>
        <a:solidFill>
          <a:schemeClr val="dk1"/>
        </a:solidFill>
        <a:effectLst/>
      </p:bgPr>
    </p:bg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p31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3" name="Google Shape;243;p31"/>
          <p:cNvSpPr txBox="1">
            <a:spLocks noGrp="1"/>
          </p:cNvSpPr>
          <p:nvPr>
            <p:ph type="body" idx="1"/>
          </p:nvPr>
        </p:nvSpPr>
        <p:spPr>
          <a:xfrm>
            <a:off x="500063" y="2520000"/>
            <a:ext cx="5595937" cy="3365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4" name="Google Shape;244;p31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5" name="Google Shape;245;p31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7536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Dark">
  <p:cSld name="Two Content Dark">
    <p:bg>
      <p:bgPr>
        <a:solidFill>
          <a:schemeClr val="dk1"/>
        </a:solidFill>
        <a:effectLst/>
      </p:bgPr>
    </p:bg>
    <p:spTree>
      <p:nvGrpSpPr>
        <p:cNvPr id="1" name="Shape 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Google Shape;247;p32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8" name="Google Shape;248;p32"/>
          <p:cNvSpPr txBox="1">
            <a:spLocks noGrp="1"/>
          </p:cNvSpPr>
          <p:nvPr>
            <p:ph type="body" idx="1"/>
          </p:nvPr>
        </p:nvSpPr>
        <p:spPr>
          <a:xfrm>
            <a:off x="500063" y="2517775"/>
            <a:ext cx="5324400" cy="3373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9" name="Google Shape;249;p32"/>
          <p:cNvSpPr txBox="1">
            <a:spLocks noGrp="1"/>
          </p:cNvSpPr>
          <p:nvPr>
            <p:ph type="body" idx="2"/>
          </p:nvPr>
        </p:nvSpPr>
        <p:spPr>
          <a:xfrm>
            <a:off x="6367537" y="2517775"/>
            <a:ext cx="5324400" cy="3373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0" name="Google Shape;250;p32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1" name="Google Shape;251;p32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30307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 Dark">
  <p:cSld name="Three Content Dark">
    <p:bg>
      <p:bgPr>
        <a:solidFill>
          <a:schemeClr val="dk1"/>
        </a:solidFill>
        <a:effectLst/>
      </p:bgPr>
    </p:bg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p33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4" name="Google Shape;254;p33"/>
          <p:cNvSpPr txBox="1">
            <a:spLocks noGrp="1"/>
          </p:cNvSpPr>
          <p:nvPr>
            <p:ph type="body" idx="1"/>
          </p:nvPr>
        </p:nvSpPr>
        <p:spPr>
          <a:xfrm>
            <a:off x="500063" y="2520000"/>
            <a:ext cx="3589337" cy="3365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5" name="Google Shape;255;p33"/>
          <p:cNvSpPr txBox="1">
            <a:spLocks noGrp="1"/>
          </p:cNvSpPr>
          <p:nvPr>
            <p:ph type="body" idx="2"/>
          </p:nvPr>
        </p:nvSpPr>
        <p:spPr>
          <a:xfrm>
            <a:off x="4301332" y="2520000"/>
            <a:ext cx="3589337" cy="3365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6" name="Google Shape;256;p33"/>
          <p:cNvSpPr txBox="1">
            <a:spLocks noGrp="1"/>
          </p:cNvSpPr>
          <p:nvPr>
            <p:ph type="body" idx="3"/>
          </p:nvPr>
        </p:nvSpPr>
        <p:spPr>
          <a:xfrm>
            <a:off x="8102601" y="2520000"/>
            <a:ext cx="3589337" cy="3365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7" name="Google Shape;257;p33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8" name="Google Shape;258;p33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95468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Content Dark">
  <p:cSld name="Four Content Dark">
    <p:bg>
      <p:bgPr>
        <a:solidFill>
          <a:schemeClr val="dk1"/>
        </a:solidFill>
        <a:effectLst/>
      </p:bgPr>
    </p:bg>
    <p:spTree>
      <p:nvGrpSpPr>
        <p:cNvPr id="1" name="Shape 2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" name="Google Shape;260;p34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1" name="Google Shape;261;p34"/>
          <p:cNvSpPr txBox="1">
            <a:spLocks noGrp="1"/>
          </p:cNvSpPr>
          <p:nvPr>
            <p:ph type="body" idx="1"/>
          </p:nvPr>
        </p:nvSpPr>
        <p:spPr>
          <a:xfrm>
            <a:off x="500063" y="2520000"/>
            <a:ext cx="2586037" cy="3365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2" name="Google Shape;262;p34"/>
          <p:cNvSpPr txBox="1">
            <a:spLocks noGrp="1"/>
          </p:cNvSpPr>
          <p:nvPr>
            <p:ph type="body" idx="2"/>
          </p:nvPr>
        </p:nvSpPr>
        <p:spPr>
          <a:xfrm>
            <a:off x="3293269" y="2520000"/>
            <a:ext cx="2586037" cy="3365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3" name="Google Shape;263;p34"/>
          <p:cNvSpPr txBox="1">
            <a:spLocks noGrp="1"/>
          </p:cNvSpPr>
          <p:nvPr>
            <p:ph type="body" idx="3"/>
          </p:nvPr>
        </p:nvSpPr>
        <p:spPr>
          <a:xfrm>
            <a:off x="6086475" y="2520000"/>
            <a:ext cx="2586037" cy="3365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4" name="Google Shape;264;p34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5" name="Google Shape;265;p34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66" name="Google Shape;266;p34"/>
          <p:cNvSpPr txBox="1">
            <a:spLocks noGrp="1"/>
          </p:cNvSpPr>
          <p:nvPr>
            <p:ph type="body" idx="4"/>
          </p:nvPr>
        </p:nvSpPr>
        <p:spPr>
          <a:xfrm>
            <a:off x="8879681" y="2520000"/>
            <a:ext cx="2586037" cy="3365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41427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, Content and Chart">
  <p:cSld name="Title, Sub, Content and Chart"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35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5F4F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9" name="Google Shape;269;p35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0" name="Google Shape;270;p35"/>
          <p:cNvSpPr txBox="1">
            <a:spLocks noGrp="1"/>
          </p:cNvSpPr>
          <p:nvPr>
            <p:ph type="body" idx="1"/>
          </p:nvPr>
        </p:nvSpPr>
        <p:spPr>
          <a:xfrm>
            <a:off x="500063" y="2523689"/>
            <a:ext cx="5056675" cy="33294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1" name="Google Shape;271;p35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2" name="Google Shape;272;p35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1pPr>
            <a:lvl2pPr marL="0" lvl="1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2pPr>
            <a:lvl3pPr marL="0" lvl="2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3pPr>
            <a:lvl4pPr marL="0" lvl="3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4pPr>
            <a:lvl5pPr marL="0" lvl="4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5pPr>
            <a:lvl6pPr marL="0" lvl="5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6pPr>
            <a:lvl7pPr marL="0" lvl="6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7pPr>
            <a:lvl8pPr marL="0" lvl="7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8pPr>
            <a:lvl9pPr marL="0" lvl="8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73" name="Google Shape;273;p35"/>
          <p:cNvSpPr txBox="1">
            <a:spLocks noGrp="1"/>
          </p:cNvSpPr>
          <p:nvPr>
            <p:ph type="body" idx="2"/>
          </p:nvPr>
        </p:nvSpPr>
        <p:spPr>
          <a:xfrm>
            <a:off x="500063" y="1481655"/>
            <a:ext cx="5056675" cy="786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74" name="Google Shape;274;p35"/>
          <p:cNvSpPr>
            <a:spLocks noGrp="1"/>
          </p:cNvSpPr>
          <p:nvPr>
            <p:ph type="chart" idx="3"/>
          </p:nvPr>
        </p:nvSpPr>
        <p:spPr>
          <a:xfrm>
            <a:off x="6499225" y="1041400"/>
            <a:ext cx="5192713" cy="48498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12081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, Content and Chart Dark">
  <p:cSld name="Title, Sub, Content and Chart Dark">
    <p:spTree>
      <p:nvGrpSpPr>
        <p:cNvPr id="1" name="Shape 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" name="Google Shape;276;p36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7" name="Google Shape;277;p36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8" name="Google Shape;278;p36"/>
          <p:cNvSpPr txBox="1">
            <a:spLocks noGrp="1"/>
          </p:cNvSpPr>
          <p:nvPr>
            <p:ph type="body" idx="1"/>
          </p:nvPr>
        </p:nvSpPr>
        <p:spPr>
          <a:xfrm>
            <a:off x="500063" y="2523689"/>
            <a:ext cx="5056675" cy="33294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9" name="Google Shape;279;p36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0" name="Google Shape;280;p36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81" name="Google Shape;281;p36"/>
          <p:cNvSpPr txBox="1">
            <a:spLocks noGrp="1"/>
          </p:cNvSpPr>
          <p:nvPr>
            <p:ph type="body" idx="2"/>
          </p:nvPr>
        </p:nvSpPr>
        <p:spPr>
          <a:xfrm>
            <a:off x="500063" y="1481655"/>
            <a:ext cx="5056675" cy="786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82" name="Google Shape;282;p36"/>
          <p:cNvSpPr>
            <a:spLocks noGrp="1"/>
          </p:cNvSpPr>
          <p:nvPr>
            <p:ph type="chart" idx="3"/>
          </p:nvPr>
        </p:nvSpPr>
        <p:spPr>
          <a:xfrm>
            <a:off x="6499225" y="1041400"/>
            <a:ext cx="5192713" cy="48498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66316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, Content and Image">
  <p:cSld name="Title, Sub, Content and Image">
    <p:spTree>
      <p:nvGrpSpPr>
        <p:cNvPr id="1" name="Shape 2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Google Shape;284;p37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5" name="Google Shape;285;p37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6" name="Google Shape;286;p37"/>
          <p:cNvSpPr txBox="1">
            <a:spLocks noGrp="1"/>
          </p:cNvSpPr>
          <p:nvPr>
            <p:ph type="body" idx="1"/>
          </p:nvPr>
        </p:nvSpPr>
        <p:spPr>
          <a:xfrm>
            <a:off x="500063" y="2523689"/>
            <a:ext cx="5056675" cy="33294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7" name="Google Shape;287;p37"/>
          <p:cNvSpPr txBox="1">
            <a:spLocks noGrp="1"/>
          </p:cNvSpPr>
          <p:nvPr>
            <p:ph type="body" idx="3"/>
          </p:nvPr>
        </p:nvSpPr>
        <p:spPr>
          <a:xfrm>
            <a:off x="500063" y="1481655"/>
            <a:ext cx="5056675" cy="786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88" name="Google Shape;288;p37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9" name="Google Shape;289;p37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94591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Content and Qu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3689"/>
            <a:ext cx="5056675" cy="3329423"/>
          </a:xfrm>
        </p:spPr>
        <p:txBody>
          <a:bodyPr spcCol="54000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4F72CA0-107F-4A4A-862E-98C88AC732F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3044825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687F16B1-C282-434C-AD8F-D67D33B93ED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47175" y="0"/>
            <a:ext cx="3044825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674F1A84-A715-1642-9A6D-724C0D4B3C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3044825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22454BBB-552C-1443-823A-2C496CBE510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47175" y="3429000"/>
            <a:ext cx="3044825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07877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Images with Text">
  <p:cSld name="Three Images with Text">
    <p:spTree>
      <p:nvGrpSpPr>
        <p:cNvPr id="1" name="Shape 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" name="Google Shape;291;p38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92" name="Google Shape;292;p38"/>
          <p:cNvCxnSpPr/>
          <p:nvPr/>
        </p:nvCxnSpPr>
        <p:spPr>
          <a:xfrm>
            <a:off x="500063" y="4316231"/>
            <a:ext cx="3562351" cy="0"/>
          </a:xfrm>
          <a:prstGeom prst="straightConnector1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293" name="Google Shape;293;p38"/>
          <p:cNvCxnSpPr/>
          <p:nvPr/>
        </p:nvCxnSpPr>
        <p:spPr>
          <a:xfrm>
            <a:off x="4314825" y="4316231"/>
            <a:ext cx="3562351" cy="0"/>
          </a:xfrm>
          <a:prstGeom prst="straightConnector1">
            <a:avLst/>
          </a:prstGeom>
          <a:noFill/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294" name="Google Shape;294;p38"/>
          <p:cNvCxnSpPr/>
          <p:nvPr/>
        </p:nvCxnSpPr>
        <p:spPr>
          <a:xfrm>
            <a:off x="8129587" y="4316231"/>
            <a:ext cx="3562351" cy="0"/>
          </a:xfrm>
          <a:prstGeom prst="straightConnector1">
            <a:avLst/>
          </a:prstGeom>
          <a:noFill/>
          <a:ln w="127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5" name="Google Shape;295;p38"/>
          <p:cNvSpPr>
            <a:spLocks noGrp="1"/>
          </p:cNvSpPr>
          <p:nvPr>
            <p:ph type="pic" idx="2"/>
          </p:nvPr>
        </p:nvSpPr>
        <p:spPr>
          <a:xfrm>
            <a:off x="500063" y="1788962"/>
            <a:ext cx="3562350" cy="23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96" name="Google Shape;296;p38"/>
          <p:cNvSpPr>
            <a:spLocks noGrp="1"/>
          </p:cNvSpPr>
          <p:nvPr>
            <p:ph type="pic" idx="3"/>
          </p:nvPr>
        </p:nvSpPr>
        <p:spPr>
          <a:xfrm>
            <a:off x="4314826" y="1788962"/>
            <a:ext cx="3562350" cy="23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97" name="Google Shape;297;p38"/>
          <p:cNvSpPr>
            <a:spLocks noGrp="1"/>
          </p:cNvSpPr>
          <p:nvPr>
            <p:ph type="pic" idx="4"/>
          </p:nvPr>
        </p:nvSpPr>
        <p:spPr>
          <a:xfrm>
            <a:off x="8129588" y="1788962"/>
            <a:ext cx="3562350" cy="23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98" name="Google Shape;298;p38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9" name="Google Shape;299;p38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00" name="Google Shape;300;p38"/>
          <p:cNvSpPr txBox="1">
            <a:spLocks noGrp="1"/>
          </p:cNvSpPr>
          <p:nvPr>
            <p:ph type="body" idx="1"/>
          </p:nvPr>
        </p:nvSpPr>
        <p:spPr>
          <a:xfrm>
            <a:off x="500064" y="4419255"/>
            <a:ext cx="3600000" cy="14624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1" name="Google Shape;301;p38"/>
          <p:cNvSpPr txBox="1">
            <a:spLocks noGrp="1"/>
          </p:cNvSpPr>
          <p:nvPr>
            <p:ph type="body" idx="5"/>
          </p:nvPr>
        </p:nvSpPr>
        <p:spPr>
          <a:xfrm>
            <a:off x="4314826" y="4419255"/>
            <a:ext cx="3600000" cy="14624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2" name="Google Shape;302;p38"/>
          <p:cNvSpPr txBox="1">
            <a:spLocks noGrp="1"/>
          </p:cNvSpPr>
          <p:nvPr>
            <p:ph type="body" idx="6"/>
          </p:nvPr>
        </p:nvSpPr>
        <p:spPr>
          <a:xfrm>
            <a:off x="8129589" y="4419255"/>
            <a:ext cx="3600000" cy="14624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12024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Charts with Text">
  <p:cSld name="Four Charts with Text"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p39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5" name="Google Shape;305;p39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6" name="Google Shape;306;p39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07" name="Google Shape;307;p39"/>
          <p:cNvSpPr txBox="1">
            <a:spLocks noGrp="1"/>
          </p:cNvSpPr>
          <p:nvPr>
            <p:ph type="body" idx="1"/>
          </p:nvPr>
        </p:nvSpPr>
        <p:spPr>
          <a:xfrm>
            <a:off x="500063" y="1481655"/>
            <a:ext cx="5056675" cy="786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08" name="Google Shape;308;p39"/>
          <p:cNvSpPr>
            <a:spLocks noGrp="1"/>
          </p:cNvSpPr>
          <p:nvPr>
            <p:ph type="chart" idx="2"/>
          </p:nvPr>
        </p:nvSpPr>
        <p:spPr>
          <a:xfrm>
            <a:off x="500063" y="2658741"/>
            <a:ext cx="2635250" cy="21275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09" name="Google Shape;309;p39"/>
          <p:cNvSpPr>
            <a:spLocks noGrp="1"/>
          </p:cNvSpPr>
          <p:nvPr>
            <p:ph type="chart" idx="3"/>
          </p:nvPr>
        </p:nvSpPr>
        <p:spPr>
          <a:xfrm>
            <a:off x="3280586" y="2658741"/>
            <a:ext cx="2635250" cy="21275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10" name="Google Shape;310;p39"/>
          <p:cNvSpPr>
            <a:spLocks noGrp="1"/>
          </p:cNvSpPr>
          <p:nvPr>
            <p:ph type="chart" idx="4"/>
          </p:nvPr>
        </p:nvSpPr>
        <p:spPr>
          <a:xfrm>
            <a:off x="6089101" y="2658741"/>
            <a:ext cx="2635250" cy="21275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11" name="Google Shape;311;p39"/>
          <p:cNvSpPr>
            <a:spLocks noGrp="1"/>
          </p:cNvSpPr>
          <p:nvPr>
            <p:ph type="chart" idx="5"/>
          </p:nvPr>
        </p:nvSpPr>
        <p:spPr>
          <a:xfrm>
            <a:off x="8897615" y="2658741"/>
            <a:ext cx="2635250" cy="21275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12" name="Google Shape;312;p39"/>
          <p:cNvSpPr txBox="1">
            <a:spLocks noGrp="1"/>
          </p:cNvSpPr>
          <p:nvPr>
            <p:ph type="body" idx="6"/>
          </p:nvPr>
        </p:nvSpPr>
        <p:spPr>
          <a:xfrm>
            <a:off x="500064" y="4861249"/>
            <a:ext cx="2635021" cy="1020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3" name="Google Shape;313;p39"/>
          <p:cNvSpPr txBox="1">
            <a:spLocks noGrp="1"/>
          </p:cNvSpPr>
          <p:nvPr>
            <p:ph type="body" idx="7"/>
          </p:nvPr>
        </p:nvSpPr>
        <p:spPr>
          <a:xfrm>
            <a:off x="3280587" y="4861249"/>
            <a:ext cx="2635021" cy="1020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4" name="Google Shape;314;p39"/>
          <p:cNvSpPr txBox="1">
            <a:spLocks noGrp="1"/>
          </p:cNvSpPr>
          <p:nvPr>
            <p:ph type="body" idx="8"/>
          </p:nvPr>
        </p:nvSpPr>
        <p:spPr>
          <a:xfrm>
            <a:off x="6089101" y="4861249"/>
            <a:ext cx="2635021" cy="1020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5" name="Google Shape;315;p39"/>
          <p:cNvSpPr txBox="1">
            <a:spLocks noGrp="1"/>
          </p:cNvSpPr>
          <p:nvPr>
            <p:ph type="body" idx="9"/>
          </p:nvPr>
        </p:nvSpPr>
        <p:spPr>
          <a:xfrm>
            <a:off x="8897616" y="4861249"/>
            <a:ext cx="2635021" cy="1020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04345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3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" name="Google Shape;317;p40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8" name="Google Shape;318;p40"/>
          <p:cNvSpPr txBox="1">
            <a:spLocks noGrp="1"/>
          </p:cNvSpPr>
          <p:nvPr>
            <p:ph type="body" idx="1"/>
          </p:nvPr>
        </p:nvSpPr>
        <p:spPr>
          <a:xfrm>
            <a:off x="500063" y="1483200"/>
            <a:ext cx="5470526" cy="786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19" name="Google Shape;319;p40"/>
          <p:cNvSpPr txBox="1">
            <a:spLocks noGrp="1"/>
          </p:cNvSpPr>
          <p:nvPr>
            <p:ph type="body" idx="2"/>
          </p:nvPr>
        </p:nvSpPr>
        <p:spPr>
          <a:xfrm>
            <a:off x="500063" y="2520950"/>
            <a:ext cx="5470525" cy="33702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4pPr>
            <a:lvl5pPr marL="2286000" lvl="4" indent="-2984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0" name="Google Shape;320;p40"/>
          <p:cNvSpPr txBox="1">
            <a:spLocks noGrp="1"/>
          </p:cNvSpPr>
          <p:nvPr>
            <p:ph type="body" idx="3"/>
          </p:nvPr>
        </p:nvSpPr>
        <p:spPr>
          <a:xfrm>
            <a:off x="6221414" y="2520950"/>
            <a:ext cx="5471476" cy="33702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4pPr>
            <a:lvl5pPr marL="2286000" lvl="4" indent="-2984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1" name="Google Shape;321;p40"/>
          <p:cNvSpPr txBox="1">
            <a:spLocks noGrp="1"/>
          </p:cNvSpPr>
          <p:nvPr>
            <p:ph type="body" idx="4"/>
          </p:nvPr>
        </p:nvSpPr>
        <p:spPr>
          <a:xfrm>
            <a:off x="6221412" y="1483200"/>
            <a:ext cx="5471477" cy="786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22" name="Google Shape;322;p40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3" name="Google Shape;323;p40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5674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Content and Quad">
  <p:cSld name="Title, Content and Quad"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p41"/>
          <p:cNvSpPr/>
          <p:nvPr/>
        </p:nvSpPr>
        <p:spPr>
          <a:xfrm>
            <a:off x="6096000" y="0"/>
            <a:ext cx="3050607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6" name="Google Shape;326;p41"/>
          <p:cNvSpPr/>
          <p:nvPr/>
        </p:nvSpPr>
        <p:spPr>
          <a:xfrm>
            <a:off x="9141393" y="0"/>
            <a:ext cx="3050607" cy="3429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7" name="Google Shape;327;p41"/>
          <p:cNvSpPr/>
          <p:nvPr/>
        </p:nvSpPr>
        <p:spPr>
          <a:xfrm>
            <a:off x="6096000" y="3429000"/>
            <a:ext cx="3050607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8" name="Google Shape;328;p41"/>
          <p:cNvSpPr/>
          <p:nvPr/>
        </p:nvSpPr>
        <p:spPr>
          <a:xfrm>
            <a:off x="9141393" y="3429000"/>
            <a:ext cx="3050607" cy="3429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9" name="Google Shape;329;p41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0" name="Google Shape;330;p41"/>
          <p:cNvSpPr txBox="1">
            <a:spLocks noGrp="1"/>
          </p:cNvSpPr>
          <p:nvPr>
            <p:ph type="body" idx="1"/>
          </p:nvPr>
        </p:nvSpPr>
        <p:spPr>
          <a:xfrm>
            <a:off x="500063" y="2523689"/>
            <a:ext cx="5056675" cy="33294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4pPr>
            <a:lvl5pPr marL="2286000" lvl="4" indent="-2984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1" name="Google Shape;331;p41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2" name="Google Shape;332;p41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33" name="Google Shape;333;p41"/>
          <p:cNvSpPr txBox="1">
            <a:spLocks noGrp="1"/>
          </p:cNvSpPr>
          <p:nvPr>
            <p:ph type="body" idx="2"/>
          </p:nvPr>
        </p:nvSpPr>
        <p:spPr>
          <a:xfrm>
            <a:off x="6443361" y="2144693"/>
            <a:ext cx="2355884" cy="5997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228600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>
                <a:solidFill>
                  <a:schemeClr val="lt1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4" name="Google Shape;334;p41"/>
          <p:cNvSpPr txBox="1">
            <a:spLocks noGrp="1"/>
          </p:cNvSpPr>
          <p:nvPr>
            <p:ph type="body" idx="3"/>
          </p:nvPr>
        </p:nvSpPr>
        <p:spPr>
          <a:xfrm>
            <a:off x="6443361" y="5395158"/>
            <a:ext cx="2355884" cy="5997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1pPr>
            <a:lvl2pPr marL="914400" lvl="1" indent="-228600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5" name="Google Shape;335;p41"/>
          <p:cNvSpPr txBox="1">
            <a:spLocks noGrp="1"/>
          </p:cNvSpPr>
          <p:nvPr>
            <p:ph type="body" idx="4"/>
          </p:nvPr>
        </p:nvSpPr>
        <p:spPr>
          <a:xfrm>
            <a:off x="9488754" y="2144693"/>
            <a:ext cx="2355884" cy="5997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228600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>
                <a:solidFill>
                  <a:schemeClr val="lt1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6" name="Google Shape;336;p41"/>
          <p:cNvSpPr txBox="1">
            <a:spLocks noGrp="1"/>
          </p:cNvSpPr>
          <p:nvPr>
            <p:ph type="body" idx="5"/>
          </p:nvPr>
        </p:nvSpPr>
        <p:spPr>
          <a:xfrm>
            <a:off x="9488754" y="5395158"/>
            <a:ext cx="2355884" cy="5997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228600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>
                <a:solidFill>
                  <a:schemeClr val="lt1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7" name="Google Shape;337;p41"/>
          <p:cNvSpPr txBox="1">
            <a:spLocks noGrp="1"/>
          </p:cNvSpPr>
          <p:nvPr>
            <p:ph type="body" idx="6"/>
          </p:nvPr>
        </p:nvSpPr>
        <p:spPr>
          <a:xfrm>
            <a:off x="6801042" y="466344"/>
            <a:ext cx="1640752" cy="1495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8" name="Google Shape;338;p41"/>
          <p:cNvSpPr txBox="1">
            <a:spLocks noGrp="1"/>
          </p:cNvSpPr>
          <p:nvPr>
            <p:ph type="body" idx="7"/>
          </p:nvPr>
        </p:nvSpPr>
        <p:spPr>
          <a:xfrm>
            <a:off x="9851649" y="466344"/>
            <a:ext cx="1640752" cy="1495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9" name="Google Shape;339;p41"/>
          <p:cNvSpPr txBox="1">
            <a:spLocks noGrp="1"/>
          </p:cNvSpPr>
          <p:nvPr>
            <p:ph type="body" idx="8"/>
          </p:nvPr>
        </p:nvSpPr>
        <p:spPr>
          <a:xfrm>
            <a:off x="6801042" y="3716809"/>
            <a:ext cx="1640752" cy="1495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0" name="Google Shape;340;p41"/>
          <p:cNvSpPr txBox="1">
            <a:spLocks noGrp="1"/>
          </p:cNvSpPr>
          <p:nvPr>
            <p:ph type="body" idx="9"/>
          </p:nvPr>
        </p:nvSpPr>
        <p:spPr>
          <a:xfrm>
            <a:off x="9851649" y="3716809"/>
            <a:ext cx="1640752" cy="1495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5883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, Content and Quad">
  <p:cSld name="1_Title, Content and Quad">
    <p:spTree>
      <p:nvGrpSpPr>
        <p:cNvPr id="1" name="Shape 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" name="Google Shape;342;p42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3" name="Google Shape;343;p42"/>
          <p:cNvSpPr txBox="1">
            <a:spLocks noGrp="1"/>
          </p:cNvSpPr>
          <p:nvPr>
            <p:ph type="body" idx="1"/>
          </p:nvPr>
        </p:nvSpPr>
        <p:spPr>
          <a:xfrm>
            <a:off x="500063" y="2523689"/>
            <a:ext cx="5056675" cy="33294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4pPr>
            <a:lvl5pPr marL="2286000" lvl="4" indent="-2984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4" name="Google Shape;344;p42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5" name="Google Shape;345;p42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46" name="Google Shape;346;p42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3044825" cy="342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7" name="Google Shape;347;p42"/>
          <p:cNvSpPr>
            <a:spLocks noGrp="1"/>
          </p:cNvSpPr>
          <p:nvPr>
            <p:ph type="pic" idx="3"/>
          </p:nvPr>
        </p:nvSpPr>
        <p:spPr>
          <a:xfrm>
            <a:off x="9147175" y="0"/>
            <a:ext cx="3044825" cy="342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8" name="Google Shape;348;p42"/>
          <p:cNvSpPr>
            <a:spLocks noGrp="1"/>
          </p:cNvSpPr>
          <p:nvPr>
            <p:ph type="pic" idx="4"/>
          </p:nvPr>
        </p:nvSpPr>
        <p:spPr>
          <a:xfrm>
            <a:off x="6096000" y="3429000"/>
            <a:ext cx="3044825" cy="342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9" name="Google Shape;349;p42"/>
          <p:cNvSpPr>
            <a:spLocks noGrp="1"/>
          </p:cNvSpPr>
          <p:nvPr>
            <p:ph type="pic" idx="5"/>
          </p:nvPr>
        </p:nvSpPr>
        <p:spPr>
          <a:xfrm>
            <a:off x="9147175" y="3429000"/>
            <a:ext cx="3044825" cy="342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58832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Dark">
  <p:cSld name="Title Only Dark">
    <p:bg>
      <p:bgPr>
        <a:solidFill>
          <a:schemeClr val="dk1"/>
        </a:solidFill>
        <a:effectLst/>
      </p:bgPr>
    </p:bg>
    <p:spTree>
      <p:nvGrpSpPr>
        <p:cNvPr id="1" name="Shape 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5" name="Google Shape;355;p44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6" name="Google Shape;356;p44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7" name="Google Shape;357;p44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71686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 with iPhones">
  <p:cSld name="Three Content with iPhones">
    <p:spTree>
      <p:nvGrpSpPr>
        <p:cNvPr id="1" name="Shape 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2" name="Google Shape;362;p46" descr="A picture containing monitor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31914" y="1095375"/>
            <a:ext cx="2962122" cy="4536000"/>
          </a:xfrm>
          <a:prstGeom prst="rect">
            <a:avLst/>
          </a:prstGeom>
          <a:noFill/>
          <a:ln>
            <a:noFill/>
          </a:ln>
        </p:spPr>
      </p:pic>
      <p:sp>
        <p:nvSpPr>
          <p:cNvPr id="363" name="Google Shape;363;p46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4" name="Google Shape;364;p46"/>
          <p:cNvSpPr txBox="1">
            <a:spLocks noGrp="1"/>
          </p:cNvSpPr>
          <p:nvPr>
            <p:ph type="body" idx="1"/>
          </p:nvPr>
        </p:nvSpPr>
        <p:spPr>
          <a:xfrm>
            <a:off x="500064" y="5288239"/>
            <a:ext cx="3600000" cy="7830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5" name="Google Shape;365;p46"/>
          <p:cNvSpPr txBox="1">
            <a:spLocks noGrp="1"/>
          </p:cNvSpPr>
          <p:nvPr>
            <p:ph type="body" idx="2"/>
          </p:nvPr>
        </p:nvSpPr>
        <p:spPr>
          <a:xfrm>
            <a:off x="4314826" y="5288239"/>
            <a:ext cx="3600000" cy="7830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6" name="Google Shape;366;p46"/>
          <p:cNvSpPr txBox="1">
            <a:spLocks noGrp="1"/>
          </p:cNvSpPr>
          <p:nvPr>
            <p:ph type="body" idx="3"/>
          </p:nvPr>
        </p:nvSpPr>
        <p:spPr>
          <a:xfrm>
            <a:off x="8129588" y="5288239"/>
            <a:ext cx="3600000" cy="7830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7" name="Google Shape;367;p46"/>
          <p:cNvSpPr>
            <a:spLocks noGrp="1"/>
          </p:cNvSpPr>
          <p:nvPr>
            <p:ph type="pic" idx="4"/>
          </p:nvPr>
        </p:nvSpPr>
        <p:spPr>
          <a:xfrm>
            <a:off x="1465109" y="1810291"/>
            <a:ext cx="1452882" cy="308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8" name="Google Shape;368;p46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9" name="Google Shape;369;p46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370" name="Google Shape;370;p46" descr="A picture containing monitor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583824" y="1095375"/>
            <a:ext cx="2962122" cy="4536000"/>
          </a:xfrm>
          <a:prstGeom prst="rect">
            <a:avLst/>
          </a:prstGeom>
          <a:noFill/>
          <a:ln>
            <a:noFill/>
          </a:ln>
        </p:spPr>
      </p:pic>
      <p:sp>
        <p:nvSpPr>
          <p:cNvPr id="371" name="Google Shape;371;p46"/>
          <p:cNvSpPr>
            <a:spLocks noGrp="1"/>
          </p:cNvSpPr>
          <p:nvPr>
            <p:ph type="pic" idx="5"/>
          </p:nvPr>
        </p:nvSpPr>
        <p:spPr>
          <a:xfrm>
            <a:off x="5317019" y="1810291"/>
            <a:ext cx="1452882" cy="308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372" name="Google Shape;372;p46" descr="A picture containing monitor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447164" y="1095375"/>
            <a:ext cx="2962122" cy="4536000"/>
          </a:xfrm>
          <a:prstGeom prst="rect">
            <a:avLst/>
          </a:prstGeom>
          <a:noFill/>
          <a:ln>
            <a:noFill/>
          </a:ln>
        </p:spPr>
      </p:pic>
      <p:sp>
        <p:nvSpPr>
          <p:cNvPr id="373" name="Google Shape;373;p46"/>
          <p:cNvSpPr>
            <a:spLocks noGrp="1"/>
          </p:cNvSpPr>
          <p:nvPr>
            <p:ph type="pic" idx="6"/>
          </p:nvPr>
        </p:nvSpPr>
        <p:spPr>
          <a:xfrm>
            <a:off x="9180359" y="1810291"/>
            <a:ext cx="1452882" cy="308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92158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hree Content with iPhones">
  <p:cSld name="1_Three Content with iPhones">
    <p:spTree>
      <p:nvGrpSpPr>
        <p:cNvPr id="1" name="Shape 3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5" name="Google Shape;375;p47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6" name="Google Shape;376;p47"/>
          <p:cNvSpPr txBox="1">
            <a:spLocks noGrp="1"/>
          </p:cNvSpPr>
          <p:nvPr>
            <p:ph type="body" idx="1"/>
          </p:nvPr>
        </p:nvSpPr>
        <p:spPr>
          <a:xfrm>
            <a:off x="500064" y="5288239"/>
            <a:ext cx="3600000" cy="7830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7" name="Google Shape;377;p47"/>
          <p:cNvSpPr txBox="1">
            <a:spLocks noGrp="1"/>
          </p:cNvSpPr>
          <p:nvPr>
            <p:ph type="body" idx="2"/>
          </p:nvPr>
        </p:nvSpPr>
        <p:spPr>
          <a:xfrm>
            <a:off x="4314826" y="5288239"/>
            <a:ext cx="3600000" cy="7830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8" name="Google Shape;378;p47"/>
          <p:cNvSpPr txBox="1">
            <a:spLocks noGrp="1"/>
          </p:cNvSpPr>
          <p:nvPr>
            <p:ph type="body" idx="3"/>
          </p:nvPr>
        </p:nvSpPr>
        <p:spPr>
          <a:xfrm>
            <a:off x="8129588" y="5288239"/>
            <a:ext cx="3600000" cy="7830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9" name="Google Shape;379;p47"/>
          <p:cNvSpPr>
            <a:spLocks noGrp="1"/>
          </p:cNvSpPr>
          <p:nvPr>
            <p:ph type="pic" idx="4"/>
          </p:nvPr>
        </p:nvSpPr>
        <p:spPr>
          <a:xfrm>
            <a:off x="1465109" y="1810291"/>
            <a:ext cx="1452882" cy="308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0" name="Google Shape;380;p47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1" name="Google Shape;381;p47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82" name="Google Shape;382;p47"/>
          <p:cNvSpPr>
            <a:spLocks noGrp="1"/>
          </p:cNvSpPr>
          <p:nvPr>
            <p:ph type="pic" idx="5"/>
          </p:nvPr>
        </p:nvSpPr>
        <p:spPr>
          <a:xfrm>
            <a:off x="5317019" y="1810291"/>
            <a:ext cx="1452882" cy="308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3" name="Google Shape;383;p47"/>
          <p:cNvSpPr>
            <a:spLocks noGrp="1"/>
          </p:cNvSpPr>
          <p:nvPr>
            <p:ph type="pic" idx="6"/>
          </p:nvPr>
        </p:nvSpPr>
        <p:spPr>
          <a:xfrm>
            <a:off x="9180359" y="1810291"/>
            <a:ext cx="1452882" cy="308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74892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, Content and iPhone 1">
  <p:cSld name="Title, Sub, Content and iPhone 1">
    <p:spTree>
      <p:nvGrpSpPr>
        <p:cNvPr id="1" name="Shape 3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5" name="Google Shape;385;p48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6" name="Google Shape;386;p48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7" name="Google Shape;387;p48"/>
          <p:cNvSpPr txBox="1">
            <a:spLocks noGrp="1"/>
          </p:cNvSpPr>
          <p:nvPr>
            <p:ph type="body" idx="1"/>
          </p:nvPr>
        </p:nvSpPr>
        <p:spPr>
          <a:xfrm>
            <a:off x="500063" y="2523689"/>
            <a:ext cx="5056675" cy="33294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4pPr>
            <a:lvl5pPr marL="2286000" lvl="4" indent="-2984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8" name="Google Shape;388;p48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9" name="Google Shape;389;p48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1pPr>
            <a:lvl2pPr marL="0" lvl="1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2pPr>
            <a:lvl3pPr marL="0" lvl="2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3pPr>
            <a:lvl4pPr marL="0" lvl="3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4pPr>
            <a:lvl5pPr marL="0" lvl="4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5pPr>
            <a:lvl6pPr marL="0" lvl="5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6pPr>
            <a:lvl7pPr marL="0" lvl="6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7pPr>
            <a:lvl8pPr marL="0" lvl="7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8pPr>
            <a:lvl9pPr marL="0" lvl="8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90" name="Google Shape;390;p48"/>
          <p:cNvSpPr txBox="1">
            <a:spLocks noGrp="1"/>
          </p:cNvSpPr>
          <p:nvPr>
            <p:ph type="body" idx="2"/>
          </p:nvPr>
        </p:nvSpPr>
        <p:spPr>
          <a:xfrm>
            <a:off x="500063" y="1481655"/>
            <a:ext cx="5056675" cy="786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pic>
        <p:nvPicPr>
          <p:cNvPr id="391" name="Google Shape;391;p48" descr="A picture containing monitor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668825" y="-410658"/>
            <a:ext cx="5009044" cy="7670523"/>
          </a:xfrm>
          <a:prstGeom prst="rect">
            <a:avLst/>
          </a:prstGeom>
          <a:noFill/>
          <a:ln>
            <a:noFill/>
          </a:ln>
        </p:spPr>
      </p:pic>
      <p:sp>
        <p:nvSpPr>
          <p:cNvPr id="392" name="Google Shape;392;p48"/>
          <p:cNvSpPr>
            <a:spLocks noGrp="1"/>
          </p:cNvSpPr>
          <p:nvPr>
            <p:ph type="pic" idx="3"/>
          </p:nvPr>
        </p:nvSpPr>
        <p:spPr>
          <a:xfrm>
            <a:off x="7907261" y="791536"/>
            <a:ext cx="2456870" cy="522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85292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, Content and iPhone 2">
  <p:cSld name="Title, Sub, Content and iPhone 2">
    <p:spTree>
      <p:nvGrpSpPr>
        <p:cNvPr id="1" name="Shape 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" name="Google Shape;394;p49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5F4F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95" name="Google Shape;395;p49"/>
          <p:cNvPicPr preferRelativeResize="0"/>
          <p:nvPr/>
        </p:nvPicPr>
        <p:blipFill rotWithShape="1">
          <a:blip r:embed="rId2">
            <a:alphaModFix/>
          </a:blip>
          <a:srcRect b="5980"/>
          <a:stretch/>
        </p:blipFill>
        <p:spPr>
          <a:xfrm>
            <a:off x="5837153" y="18049"/>
            <a:ext cx="6528348" cy="6839951"/>
          </a:xfrm>
          <a:prstGeom prst="rect">
            <a:avLst/>
          </a:prstGeom>
          <a:noFill/>
          <a:ln>
            <a:noFill/>
          </a:ln>
        </p:spPr>
      </p:pic>
      <p:sp>
        <p:nvSpPr>
          <p:cNvPr id="396" name="Google Shape;396;p49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7" name="Google Shape;397;p49"/>
          <p:cNvSpPr txBox="1">
            <a:spLocks noGrp="1"/>
          </p:cNvSpPr>
          <p:nvPr>
            <p:ph type="body" idx="1"/>
          </p:nvPr>
        </p:nvSpPr>
        <p:spPr>
          <a:xfrm>
            <a:off x="500063" y="2523689"/>
            <a:ext cx="5056675" cy="33294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4pPr>
            <a:lvl5pPr marL="2286000" lvl="4" indent="-2984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8" name="Google Shape;398;p49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9" name="Google Shape;399;p49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1pPr>
            <a:lvl2pPr marL="0" lvl="1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2pPr>
            <a:lvl3pPr marL="0" lvl="2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3pPr>
            <a:lvl4pPr marL="0" lvl="3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4pPr>
            <a:lvl5pPr marL="0" lvl="4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5pPr>
            <a:lvl6pPr marL="0" lvl="5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6pPr>
            <a:lvl7pPr marL="0" lvl="6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7pPr>
            <a:lvl8pPr marL="0" lvl="7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8pPr>
            <a:lvl9pPr marL="0" lvl="8" indent="0" algn="r">
              <a:spcBef>
                <a:spcPts val="0"/>
              </a:spcBef>
              <a:buNone/>
              <a:defRPr>
                <a:solidFill>
                  <a:srgbClr val="231F20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00" name="Google Shape;400;p49"/>
          <p:cNvSpPr txBox="1">
            <a:spLocks noGrp="1"/>
          </p:cNvSpPr>
          <p:nvPr>
            <p:ph type="body" idx="2"/>
          </p:nvPr>
        </p:nvSpPr>
        <p:spPr>
          <a:xfrm>
            <a:off x="500063" y="1481655"/>
            <a:ext cx="5056675" cy="786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01" name="Google Shape;401;p49"/>
          <p:cNvSpPr>
            <a:spLocks noGrp="1"/>
          </p:cNvSpPr>
          <p:nvPr>
            <p:ph type="pic" idx="3"/>
          </p:nvPr>
        </p:nvSpPr>
        <p:spPr>
          <a:xfrm>
            <a:off x="8005554" y="872975"/>
            <a:ext cx="2456870" cy="52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46085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4C8F12B-D471-4524-A21D-E2E0C4A3A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203B0C-11E9-4FDC-A004-C78D9EB13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566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arge Quote with Image">
  <p:cSld name="Large Quote with Image">
    <p:bg>
      <p:bgPr>
        <a:solidFill>
          <a:schemeClr val="accent2"/>
        </a:solidFill>
        <a:effectLst/>
      </p:bgPr>
    </p:bg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p50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4" name="Google Shape;404;p50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5" name="Google Shape;405;p50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06" name="Google Shape;406;p50"/>
          <p:cNvSpPr txBox="1">
            <a:spLocks noGrp="1"/>
          </p:cNvSpPr>
          <p:nvPr>
            <p:ph type="body" idx="1"/>
          </p:nvPr>
        </p:nvSpPr>
        <p:spPr>
          <a:xfrm>
            <a:off x="438912" y="502920"/>
            <a:ext cx="5592445" cy="5378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200" b="0"/>
            </a:lvl1pPr>
            <a:lvl2pPr marL="914400" lvl="1" indent="-317500" algn="l">
              <a:lnSpc>
                <a:spcPct val="100000"/>
              </a:lnSpc>
              <a:spcBef>
                <a:spcPts val="42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―"/>
              <a:defRPr/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/>
            </a:lvl4pPr>
            <a:lvl5pPr marL="2286000" lvl="4" indent="-2984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07" name="Google Shape;407;p50"/>
          <p:cNvGrpSpPr/>
          <p:nvPr/>
        </p:nvGrpSpPr>
        <p:grpSpPr>
          <a:xfrm>
            <a:off x="504031" y="6390186"/>
            <a:ext cx="918000" cy="213052"/>
            <a:chOff x="316" y="3952"/>
            <a:chExt cx="586" cy="136"/>
          </a:xfrm>
        </p:grpSpPr>
        <p:sp>
          <p:nvSpPr>
            <p:cNvPr id="408" name="Google Shape;408;p50"/>
            <p:cNvSpPr/>
            <p:nvPr/>
          </p:nvSpPr>
          <p:spPr>
            <a:xfrm>
              <a:off x="428" y="3990"/>
              <a:ext cx="66" cy="98"/>
            </a:xfrm>
            <a:custGeom>
              <a:avLst/>
              <a:gdLst/>
              <a:ahLst/>
              <a:cxnLst/>
              <a:rect l="l" t="t" r="r" b="b"/>
              <a:pathLst>
                <a:path w="2176" h="3230" extrusionOk="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9" name="Google Shape;409;p50"/>
            <p:cNvSpPr/>
            <p:nvPr/>
          </p:nvSpPr>
          <p:spPr>
            <a:xfrm>
              <a:off x="505" y="3991"/>
              <a:ext cx="85" cy="97"/>
            </a:xfrm>
            <a:custGeom>
              <a:avLst/>
              <a:gdLst/>
              <a:ahLst/>
              <a:cxnLst/>
              <a:rect l="l" t="t" r="r" b="b"/>
              <a:pathLst>
                <a:path w="2769" h="3192" extrusionOk="0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0" name="Google Shape;410;p50"/>
            <p:cNvSpPr/>
            <p:nvPr/>
          </p:nvSpPr>
          <p:spPr>
            <a:xfrm>
              <a:off x="608" y="3990"/>
              <a:ext cx="46" cy="97"/>
            </a:xfrm>
            <a:custGeom>
              <a:avLst/>
              <a:gdLst/>
              <a:ahLst/>
              <a:cxnLst/>
              <a:rect l="l" t="t" r="r" b="b"/>
              <a:pathLst>
                <a:path w="1508" h="3192" extrusionOk="0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1" name="Google Shape;411;p50"/>
            <p:cNvSpPr/>
            <p:nvPr/>
          </p:nvSpPr>
          <p:spPr>
            <a:xfrm>
              <a:off x="664" y="3952"/>
              <a:ext cx="28" cy="135"/>
            </a:xfrm>
            <a:custGeom>
              <a:avLst/>
              <a:gdLst/>
              <a:ahLst/>
              <a:cxnLst/>
              <a:rect l="l" t="t" r="r" b="b"/>
              <a:pathLst>
                <a:path w="934" h="4454" extrusionOk="0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2" name="Google Shape;412;p50"/>
            <p:cNvSpPr/>
            <p:nvPr/>
          </p:nvSpPr>
          <p:spPr>
            <a:xfrm>
              <a:off x="702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1" h="3230" extrusionOk="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3" name="Google Shape;413;p50"/>
            <p:cNvSpPr/>
            <p:nvPr/>
          </p:nvSpPr>
          <p:spPr>
            <a:xfrm>
              <a:off x="814" y="3990"/>
              <a:ext cx="88" cy="97"/>
            </a:xfrm>
            <a:custGeom>
              <a:avLst/>
              <a:gdLst/>
              <a:ahLst/>
              <a:cxnLst/>
              <a:rect l="l" t="t" r="r" b="b"/>
              <a:pathLst>
                <a:path w="2893" h="3211" extrusionOk="0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4" name="Google Shape;414;p50"/>
            <p:cNvSpPr/>
            <p:nvPr/>
          </p:nvSpPr>
          <p:spPr>
            <a:xfrm>
              <a:off x="316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0" h="3230" extrusionOk="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3063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rge Quote with Illustration">
  <p:cSld name="Large Quote with Illustration">
    <p:spTree>
      <p:nvGrpSpPr>
        <p:cNvPr id="1" name="Shape 4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6" name="Google Shape;416;p51"/>
          <p:cNvSpPr>
            <a:spLocks noGrp="1"/>
          </p:cNvSpPr>
          <p:nvPr>
            <p:ph type="pic" idx="2"/>
          </p:nvPr>
        </p:nvSpPr>
        <p:spPr>
          <a:xfrm>
            <a:off x="6343650" y="0"/>
            <a:ext cx="584835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7" name="Google Shape;417;p51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8" name="Google Shape;418;p51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19" name="Google Shape;419;p51"/>
          <p:cNvSpPr txBox="1">
            <a:spLocks noGrp="1"/>
          </p:cNvSpPr>
          <p:nvPr>
            <p:ph type="body" idx="1"/>
          </p:nvPr>
        </p:nvSpPr>
        <p:spPr>
          <a:xfrm>
            <a:off x="438912" y="502920"/>
            <a:ext cx="5592445" cy="5378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 b="0"/>
            </a:lvl1pPr>
            <a:lvl2pPr marL="914400" lvl="1" indent="-317500" algn="l">
              <a:lnSpc>
                <a:spcPct val="100000"/>
              </a:lnSpc>
              <a:spcBef>
                <a:spcPts val="4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―"/>
              <a:defRPr/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4pPr>
            <a:lvl5pPr marL="2286000" lvl="4" indent="-2984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92235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rge Text Split">
  <p:cSld name="Large Text Split">
    <p:spTree>
      <p:nvGrpSpPr>
        <p:cNvPr id="1" name="Shape 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1" name="Google Shape;421;p52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2" name="Google Shape;422;p52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5056632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3" name="Google Shape;423;p52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4" name="Google Shape;424;p52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25" name="Google Shape;425;p52"/>
          <p:cNvSpPr txBox="1">
            <a:spLocks noGrp="1"/>
          </p:cNvSpPr>
          <p:nvPr>
            <p:ph type="body" idx="1"/>
          </p:nvPr>
        </p:nvSpPr>
        <p:spPr>
          <a:xfrm>
            <a:off x="500063" y="2281373"/>
            <a:ext cx="5095874" cy="923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None/>
              <a:defRPr sz="6000" b="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6" name="Google Shape;426;p52"/>
          <p:cNvSpPr txBox="1">
            <a:spLocks noGrp="1"/>
          </p:cNvSpPr>
          <p:nvPr>
            <p:ph type="body" idx="2"/>
          </p:nvPr>
        </p:nvSpPr>
        <p:spPr>
          <a:xfrm>
            <a:off x="500064" y="3257439"/>
            <a:ext cx="5095874" cy="14454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07290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rge Text No Title">
  <p:cSld name="Large Text No Title">
    <p:bg>
      <p:bgPr>
        <a:solidFill>
          <a:schemeClr val="accent1"/>
        </a:solidFill>
        <a:effectLst/>
      </p:bgPr>
    </p:bg>
    <p:spTree>
      <p:nvGrpSpPr>
        <p:cNvPr id="1" name="Shape 4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8" name="Google Shape;428;p53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9" name="Google Shape;429;p53"/>
          <p:cNvSpPr txBox="1">
            <a:spLocks noGrp="1"/>
          </p:cNvSpPr>
          <p:nvPr>
            <p:ph type="title"/>
          </p:nvPr>
        </p:nvSpPr>
        <p:spPr>
          <a:xfrm>
            <a:off x="500063" y="804864"/>
            <a:ext cx="5056632" cy="48222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Font typeface="Calibri"/>
              <a:buNone/>
              <a:defRPr sz="8000"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0" name="Google Shape;430;p53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1" name="Google Shape;431;p53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32" name="Google Shape;432;p53"/>
          <p:cNvSpPr txBox="1">
            <a:spLocks noGrp="1"/>
          </p:cNvSpPr>
          <p:nvPr>
            <p:ph type="body" idx="1"/>
          </p:nvPr>
        </p:nvSpPr>
        <p:spPr>
          <a:xfrm>
            <a:off x="6597748" y="1387172"/>
            <a:ext cx="5094189" cy="36575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 b="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83629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ur Team Layouts">
  <p:cSld name="Our Team Layouts">
    <p:bg>
      <p:bgPr>
        <a:solidFill>
          <a:schemeClr val="dk1"/>
        </a:solidFill>
        <a:effectLst/>
      </p:bgPr>
    </p:bg>
    <p:spTree>
      <p:nvGrpSpPr>
        <p:cNvPr id="1" name="Shape 4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" name="Google Shape;434;p54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5" name="Google Shape;435;p54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6" name="Google Shape;436;p54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37" name="Google Shape;437;p54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500" b="0" i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MORE</a:t>
            </a:r>
            <a:br>
              <a:rPr lang="en-US" sz="11500" b="0" i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1500" b="0" i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LAYOUTS</a:t>
            </a:r>
            <a:endParaRPr/>
          </a:p>
        </p:txBody>
      </p:sp>
      <p:sp>
        <p:nvSpPr>
          <p:cNvPr id="438" name="Google Shape;438;p54"/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94787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ur Team - Hero">
  <p:cSld name="Our Team - Hero">
    <p:bg>
      <p:bgPr>
        <a:solidFill>
          <a:schemeClr val="lt1"/>
        </a:solidFill>
        <a:effectLst/>
      </p:bgPr>
    </p:bg>
    <p:spTree>
      <p:nvGrpSpPr>
        <p:cNvPr id="1" name="Shape 4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" name="Google Shape;440;p55"/>
          <p:cNvSpPr>
            <a:spLocks noGrp="1"/>
          </p:cNvSpPr>
          <p:nvPr>
            <p:ph type="pic" idx="2"/>
          </p:nvPr>
        </p:nvSpPr>
        <p:spPr>
          <a:xfrm>
            <a:off x="6343650" y="0"/>
            <a:ext cx="584835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41" name="Google Shape;441;p55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5272087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2" name="Google Shape;442;p55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3" name="Google Shape;443;p55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44" name="Google Shape;444;p55"/>
          <p:cNvSpPr txBox="1">
            <a:spLocks noGrp="1"/>
          </p:cNvSpPr>
          <p:nvPr>
            <p:ph type="body" idx="1"/>
          </p:nvPr>
        </p:nvSpPr>
        <p:spPr>
          <a:xfrm>
            <a:off x="500063" y="3091180"/>
            <a:ext cx="5272087" cy="2755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4pPr>
            <a:lvl5pPr marL="2286000" lvl="4" indent="-2984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5" name="Google Shape;445;p55"/>
          <p:cNvSpPr txBox="1">
            <a:spLocks noGrp="1"/>
          </p:cNvSpPr>
          <p:nvPr>
            <p:ph type="body" idx="3"/>
          </p:nvPr>
        </p:nvSpPr>
        <p:spPr>
          <a:xfrm>
            <a:off x="500063" y="2019945"/>
            <a:ext cx="5272087" cy="786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6341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ur Team - 4 People">
  <p:cSld name="Our Team - 4 People">
    <p:bg>
      <p:bgPr>
        <a:solidFill>
          <a:schemeClr val="lt1"/>
        </a:solidFill>
        <a:effectLst/>
      </p:bgPr>
    </p:bg>
    <p:spTree>
      <p:nvGrpSpPr>
        <p:cNvPr id="1" name="Shape 4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7" name="Google Shape;447;p56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8" name="Google Shape;448;p56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9" name="Google Shape;449;p56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50" name="Google Shape;450;p56"/>
          <p:cNvSpPr>
            <a:spLocks noGrp="1"/>
          </p:cNvSpPr>
          <p:nvPr>
            <p:ph type="pic" idx="2"/>
          </p:nvPr>
        </p:nvSpPr>
        <p:spPr>
          <a:xfrm>
            <a:off x="500062" y="2539729"/>
            <a:ext cx="2547937" cy="26710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1" name="Google Shape;451;p56"/>
          <p:cNvSpPr txBox="1">
            <a:spLocks noGrp="1"/>
          </p:cNvSpPr>
          <p:nvPr>
            <p:ph type="body" idx="1"/>
          </p:nvPr>
        </p:nvSpPr>
        <p:spPr>
          <a:xfrm>
            <a:off x="500063" y="5312999"/>
            <a:ext cx="2547936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2" name="Google Shape;452;p56"/>
          <p:cNvSpPr txBox="1">
            <a:spLocks noGrp="1"/>
          </p:cNvSpPr>
          <p:nvPr>
            <p:ph type="body" idx="3"/>
          </p:nvPr>
        </p:nvSpPr>
        <p:spPr>
          <a:xfrm>
            <a:off x="500063" y="1459594"/>
            <a:ext cx="5799137" cy="844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3" name="Google Shape;453;p56"/>
          <p:cNvSpPr>
            <a:spLocks noGrp="1"/>
          </p:cNvSpPr>
          <p:nvPr>
            <p:ph type="pic" idx="4"/>
          </p:nvPr>
        </p:nvSpPr>
        <p:spPr>
          <a:xfrm>
            <a:off x="3381374" y="2539729"/>
            <a:ext cx="2547937" cy="26710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4" name="Google Shape;454;p56"/>
          <p:cNvSpPr txBox="1">
            <a:spLocks noGrp="1"/>
          </p:cNvSpPr>
          <p:nvPr>
            <p:ph type="body" idx="5"/>
          </p:nvPr>
        </p:nvSpPr>
        <p:spPr>
          <a:xfrm>
            <a:off x="3381375" y="5312999"/>
            <a:ext cx="2547936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5" name="Google Shape;455;p56"/>
          <p:cNvSpPr>
            <a:spLocks noGrp="1"/>
          </p:cNvSpPr>
          <p:nvPr>
            <p:ph type="pic" idx="6"/>
          </p:nvPr>
        </p:nvSpPr>
        <p:spPr>
          <a:xfrm>
            <a:off x="6262686" y="2539729"/>
            <a:ext cx="2547937" cy="26710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6" name="Google Shape;456;p56"/>
          <p:cNvSpPr txBox="1">
            <a:spLocks noGrp="1"/>
          </p:cNvSpPr>
          <p:nvPr>
            <p:ph type="body" idx="7"/>
          </p:nvPr>
        </p:nvSpPr>
        <p:spPr>
          <a:xfrm>
            <a:off x="6262687" y="5312999"/>
            <a:ext cx="2547936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7" name="Google Shape;457;p56"/>
          <p:cNvSpPr>
            <a:spLocks noGrp="1"/>
          </p:cNvSpPr>
          <p:nvPr>
            <p:ph type="pic" idx="8"/>
          </p:nvPr>
        </p:nvSpPr>
        <p:spPr>
          <a:xfrm>
            <a:off x="9143999" y="2539729"/>
            <a:ext cx="2547937" cy="26710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8" name="Google Shape;458;p56"/>
          <p:cNvSpPr txBox="1">
            <a:spLocks noGrp="1"/>
          </p:cNvSpPr>
          <p:nvPr>
            <p:ph type="body" idx="9"/>
          </p:nvPr>
        </p:nvSpPr>
        <p:spPr>
          <a:xfrm>
            <a:off x="9144000" y="5312999"/>
            <a:ext cx="2547936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67229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ur Team - 10 People">
  <p:cSld name="Our Team - 10 People">
    <p:spTree>
      <p:nvGrpSpPr>
        <p:cNvPr id="1" name="Shape 4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" name="Google Shape;460;p57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1" name="Google Shape;461;p57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2" name="Google Shape;462;p57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63" name="Google Shape;463;p57"/>
          <p:cNvSpPr>
            <a:spLocks noGrp="1"/>
          </p:cNvSpPr>
          <p:nvPr>
            <p:ph type="pic" idx="2"/>
          </p:nvPr>
        </p:nvSpPr>
        <p:spPr>
          <a:xfrm>
            <a:off x="754063" y="1520826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64" name="Google Shape;464;p57"/>
          <p:cNvSpPr txBox="1">
            <a:spLocks noGrp="1"/>
          </p:cNvSpPr>
          <p:nvPr>
            <p:ph type="body" idx="1"/>
          </p:nvPr>
        </p:nvSpPr>
        <p:spPr>
          <a:xfrm>
            <a:off x="754063" y="3122612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5" name="Google Shape;465;p57"/>
          <p:cNvSpPr>
            <a:spLocks noGrp="1"/>
          </p:cNvSpPr>
          <p:nvPr>
            <p:ph type="pic" idx="3"/>
          </p:nvPr>
        </p:nvSpPr>
        <p:spPr>
          <a:xfrm>
            <a:off x="3040658" y="1520826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66" name="Google Shape;466;p57"/>
          <p:cNvSpPr txBox="1">
            <a:spLocks noGrp="1"/>
          </p:cNvSpPr>
          <p:nvPr>
            <p:ph type="body" idx="4"/>
          </p:nvPr>
        </p:nvSpPr>
        <p:spPr>
          <a:xfrm>
            <a:off x="3040658" y="3122612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7" name="Google Shape;467;p57"/>
          <p:cNvSpPr>
            <a:spLocks noGrp="1"/>
          </p:cNvSpPr>
          <p:nvPr>
            <p:ph type="pic" idx="5"/>
          </p:nvPr>
        </p:nvSpPr>
        <p:spPr>
          <a:xfrm>
            <a:off x="5327253" y="1520826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68" name="Google Shape;468;p57"/>
          <p:cNvSpPr txBox="1">
            <a:spLocks noGrp="1"/>
          </p:cNvSpPr>
          <p:nvPr>
            <p:ph type="body" idx="6"/>
          </p:nvPr>
        </p:nvSpPr>
        <p:spPr>
          <a:xfrm>
            <a:off x="5327253" y="3122612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9" name="Google Shape;469;p57"/>
          <p:cNvSpPr>
            <a:spLocks noGrp="1"/>
          </p:cNvSpPr>
          <p:nvPr>
            <p:ph type="pic" idx="7"/>
          </p:nvPr>
        </p:nvSpPr>
        <p:spPr>
          <a:xfrm>
            <a:off x="7613848" y="1520826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0" name="Google Shape;470;p57"/>
          <p:cNvSpPr txBox="1">
            <a:spLocks noGrp="1"/>
          </p:cNvSpPr>
          <p:nvPr>
            <p:ph type="body" idx="8"/>
          </p:nvPr>
        </p:nvSpPr>
        <p:spPr>
          <a:xfrm>
            <a:off x="7613848" y="3122612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1" name="Google Shape;471;p57"/>
          <p:cNvSpPr>
            <a:spLocks noGrp="1"/>
          </p:cNvSpPr>
          <p:nvPr>
            <p:ph type="pic" idx="9"/>
          </p:nvPr>
        </p:nvSpPr>
        <p:spPr>
          <a:xfrm>
            <a:off x="9900444" y="1520826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2" name="Google Shape;472;p57"/>
          <p:cNvSpPr txBox="1">
            <a:spLocks noGrp="1"/>
          </p:cNvSpPr>
          <p:nvPr>
            <p:ph type="body" idx="13"/>
          </p:nvPr>
        </p:nvSpPr>
        <p:spPr>
          <a:xfrm>
            <a:off x="9900444" y="3122612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3" name="Google Shape;473;p57"/>
          <p:cNvSpPr>
            <a:spLocks noGrp="1"/>
          </p:cNvSpPr>
          <p:nvPr>
            <p:ph type="pic" idx="14"/>
          </p:nvPr>
        </p:nvSpPr>
        <p:spPr>
          <a:xfrm>
            <a:off x="754063" y="3814083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4" name="Google Shape;474;p57"/>
          <p:cNvSpPr txBox="1">
            <a:spLocks noGrp="1"/>
          </p:cNvSpPr>
          <p:nvPr>
            <p:ph type="body" idx="15"/>
          </p:nvPr>
        </p:nvSpPr>
        <p:spPr>
          <a:xfrm>
            <a:off x="754063" y="5415869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5" name="Google Shape;475;p57"/>
          <p:cNvSpPr>
            <a:spLocks noGrp="1"/>
          </p:cNvSpPr>
          <p:nvPr>
            <p:ph type="pic" idx="16"/>
          </p:nvPr>
        </p:nvSpPr>
        <p:spPr>
          <a:xfrm>
            <a:off x="3040658" y="3814083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6" name="Google Shape;476;p57"/>
          <p:cNvSpPr txBox="1">
            <a:spLocks noGrp="1"/>
          </p:cNvSpPr>
          <p:nvPr>
            <p:ph type="body" idx="17"/>
          </p:nvPr>
        </p:nvSpPr>
        <p:spPr>
          <a:xfrm>
            <a:off x="3040658" y="5415869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7" name="Google Shape;477;p57"/>
          <p:cNvSpPr>
            <a:spLocks noGrp="1"/>
          </p:cNvSpPr>
          <p:nvPr>
            <p:ph type="pic" idx="18"/>
          </p:nvPr>
        </p:nvSpPr>
        <p:spPr>
          <a:xfrm>
            <a:off x="5327253" y="3814083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8" name="Google Shape;478;p57"/>
          <p:cNvSpPr txBox="1">
            <a:spLocks noGrp="1"/>
          </p:cNvSpPr>
          <p:nvPr>
            <p:ph type="body" idx="19"/>
          </p:nvPr>
        </p:nvSpPr>
        <p:spPr>
          <a:xfrm>
            <a:off x="5327253" y="5415869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9" name="Google Shape;479;p57"/>
          <p:cNvSpPr>
            <a:spLocks noGrp="1"/>
          </p:cNvSpPr>
          <p:nvPr>
            <p:ph type="pic" idx="20"/>
          </p:nvPr>
        </p:nvSpPr>
        <p:spPr>
          <a:xfrm>
            <a:off x="7613848" y="3814083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0" name="Google Shape;480;p57"/>
          <p:cNvSpPr txBox="1">
            <a:spLocks noGrp="1"/>
          </p:cNvSpPr>
          <p:nvPr>
            <p:ph type="body" idx="21"/>
          </p:nvPr>
        </p:nvSpPr>
        <p:spPr>
          <a:xfrm>
            <a:off x="7613848" y="5415869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1" name="Google Shape;481;p57"/>
          <p:cNvSpPr>
            <a:spLocks noGrp="1"/>
          </p:cNvSpPr>
          <p:nvPr>
            <p:ph type="pic" idx="22"/>
          </p:nvPr>
        </p:nvSpPr>
        <p:spPr>
          <a:xfrm>
            <a:off x="9900444" y="3814083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2" name="Google Shape;482;p57"/>
          <p:cNvSpPr txBox="1">
            <a:spLocks noGrp="1"/>
          </p:cNvSpPr>
          <p:nvPr>
            <p:ph type="body" idx="23"/>
          </p:nvPr>
        </p:nvSpPr>
        <p:spPr>
          <a:xfrm>
            <a:off x="9900444" y="5415869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79929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ur Team Dark - Hero">
  <p:cSld name="Our Team Dark - Hero">
    <p:bg>
      <p:bgPr>
        <a:solidFill>
          <a:schemeClr val="dk1"/>
        </a:solidFill>
        <a:effectLst/>
      </p:bgPr>
    </p:bg>
    <p:spTree>
      <p:nvGrpSpPr>
        <p:cNvPr id="1" name="Shape 4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4" name="Google Shape;484;p58"/>
          <p:cNvSpPr>
            <a:spLocks noGrp="1"/>
          </p:cNvSpPr>
          <p:nvPr>
            <p:ph type="pic" idx="2"/>
          </p:nvPr>
        </p:nvSpPr>
        <p:spPr>
          <a:xfrm>
            <a:off x="6343650" y="0"/>
            <a:ext cx="584835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5" name="Google Shape;485;p58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5272087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6" name="Google Shape;486;p58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7" name="Google Shape;487;p58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88" name="Google Shape;488;p58"/>
          <p:cNvSpPr txBox="1">
            <a:spLocks noGrp="1"/>
          </p:cNvSpPr>
          <p:nvPr>
            <p:ph type="body" idx="1"/>
          </p:nvPr>
        </p:nvSpPr>
        <p:spPr>
          <a:xfrm>
            <a:off x="500063" y="3091180"/>
            <a:ext cx="5272087" cy="2755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/>
            </a:lvl4pPr>
            <a:lvl5pPr marL="2286000" lvl="4" indent="-2984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9" name="Google Shape;489;p58"/>
          <p:cNvSpPr txBox="1">
            <a:spLocks noGrp="1"/>
          </p:cNvSpPr>
          <p:nvPr>
            <p:ph type="body" idx="3"/>
          </p:nvPr>
        </p:nvSpPr>
        <p:spPr>
          <a:xfrm>
            <a:off x="500063" y="2019945"/>
            <a:ext cx="5272087" cy="786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21537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ur Team Dark - 4 People">
  <p:cSld name="Our Team Dark - 4 People">
    <p:bg>
      <p:bgPr>
        <a:solidFill>
          <a:schemeClr val="dk1"/>
        </a:solidFill>
        <a:effectLst/>
      </p:bgPr>
    </p:bg>
    <p:spTree>
      <p:nvGrpSpPr>
        <p:cNvPr id="1" name="Shape 4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" name="Google Shape;491;p59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2" name="Google Shape;492;p59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3" name="Google Shape;493;p59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94" name="Google Shape;494;p59"/>
          <p:cNvSpPr>
            <a:spLocks noGrp="1"/>
          </p:cNvSpPr>
          <p:nvPr>
            <p:ph type="pic" idx="2"/>
          </p:nvPr>
        </p:nvSpPr>
        <p:spPr>
          <a:xfrm>
            <a:off x="500062" y="2539729"/>
            <a:ext cx="2547937" cy="26710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95" name="Google Shape;495;p59"/>
          <p:cNvSpPr txBox="1">
            <a:spLocks noGrp="1"/>
          </p:cNvSpPr>
          <p:nvPr>
            <p:ph type="body" idx="1"/>
          </p:nvPr>
        </p:nvSpPr>
        <p:spPr>
          <a:xfrm>
            <a:off x="500063" y="5312999"/>
            <a:ext cx="2547936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6" name="Google Shape;496;p59"/>
          <p:cNvSpPr txBox="1">
            <a:spLocks noGrp="1"/>
          </p:cNvSpPr>
          <p:nvPr>
            <p:ph type="body" idx="3"/>
          </p:nvPr>
        </p:nvSpPr>
        <p:spPr>
          <a:xfrm>
            <a:off x="500063" y="1459594"/>
            <a:ext cx="5799137" cy="844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7" name="Google Shape;497;p59"/>
          <p:cNvSpPr>
            <a:spLocks noGrp="1"/>
          </p:cNvSpPr>
          <p:nvPr>
            <p:ph type="pic" idx="4"/>
          </p:nvPr>
        </p:nvSpPr>
        <p:spPr>
          <a:xfrm>
            <a:off x="3381374" y="2539729"/>
            <a:ext cx="2547937" cy="26710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98" name="Google Shape;498;p59"/>
          <p:cNvSpPr txBox="1">
            <a:spLocks noGrp="1"/>
          </p:cNvSpPr>
          <p:nvPr>
            <p:ph type="body" idx="5"/>
          </p:nvPr>
        </p:nvSpPr>
        <p:spPr>
          <a:xfrm>
            <a:off x="3381375" y="5312999"/>
            <a:ext cx="2547936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9" name="Google Shape;499;p59"/>
          <p:cNvSpPr>
            <a:spLocks noGrp="1"/>
          </p:cNvSpPr>
          <p:nvPr>
            <p:ph type="pic" idx="6"/>
          </p:nvPr>
        </p:nvSpPr>
        <p:spPr>
          <a:xfrm>
            <a:off x="6262686" y="2539729"/>
            <a:ext cx="2547937" cy="26710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00" name="Google Shape;500;p59"/>
          <p:cNvSpPr txBox="1">
            <a:spLocks noGrp="1"/>
          </p:cNvSpPr>
          <p:nvPr>
            <p:ph type="body" idx="7"/>
          </p:nvPr>
        </p:nvSpPr>
        <p:spPr>
          <a:xfrm>
            <a:off x="6262687" y="5312999"/>
            <a:ext cx="2547936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1" name="Google Shape;501;p59"/>
          <p:cNvSpPr>
            <a:spLocks noGrp="1"/>
          </p:cNvSpPr>
          <p:nvPr>
            <p:ph type="pic" idx="8"/>
          </p:nvPr>
        </p:nvSpPr>
        <p:spPr>
          <a:xfrm>
            <a:off x="9143999" y="2539729"/>
            <a:ext cx="2547937" cy="26710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02" name="Google Shape;502;p59"/>
          <p:cNvSpPr txBox="1">
            <a:spLocks noGrp="1"/>
          </p:cNvSpPr>
          <p:nvPr>
            <p:ph type="body" idx="9"/>
          </p:nvPr>
        </p:nvSpPr>
        <p:spPr>
          <a:xfrm>
            <a:off x="9144000" y="5312999"/>
            <a:ext cx="2547936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18554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5DBBB8B-648D-4197-97B9-AE71487D25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5924E6F-6328-463D-B419-65509C9FE4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33739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ur Team Dark - 10 People">
  <p:cSld name="Our Team Dark - 10 People">
    <p:bg>
      <p:bgPr>
        <a:solidFill>
          <a:schemeClr val="dk1"/>
        </a:solidFill>
        <a:effectLst/>
      </p:bgPr>
    </p:bg>
    <p:spTree>
      <p:nvGrpSpPr>
        <p:cNvPr id="1" name="Shape 5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4" name="Google Shape;504;p60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5" name="Google Shape;505;p60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6" name="Google Shape;506;p60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07" name="Google Shape;507;p60"/>
          <p:cNvSpPr>
            <a:spLocks noGrp="1"/>
          </p:cNvSpPr>
          <p:nvPr>
            <p:ph type="pic" idx="2"/>
          </p:nvPr>
        </p:nvSpPr>
        <p:spPr>
          <a:xfrm>
            <a:off x="754063" y="1520826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08" name="Google Shape;508;p60"/>
          <p:cNvSpPr txBox="1">
            <a:spLocks noGrp="1"/>
          </p:cNvSpPr>
          <p:nvPr>
            <p:ph type="body" idx="1"/>
          </p:nvPr>
        </p:nvSpPr>
        <p:spPr>
          <a:xfrm>
            <a:off x="754063" y="3122612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9" name="Google Shape;509;p60"/>
          <p:cNvSpPr>
            <a:spLocks noGrp="1"/>
          </p:cNvSpPr>
          <p:nvPr>
            <p:ph type="pic" idx="3"/>
          </p:nvPr>
        </p:nvSpPr>
        <p:spPr>
          <a:xfrm>
            <a:off x="3040658" y="1520826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10" name="Google Shape;510;p60"/>
          <p:cNvSpPr txBox="1">
            <a:spLocks noGrp="1"/>
          </p:cNvSpPr>
          <p:nvPr>
            <p:ph type="body" idx="4"/>
          </p:nvPr>
        </p:nvSpPr>
        <p:spPr>
          <a:xfrm>
            <a:off x="3040658" y="3122612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1" name="Google Shape;511;p60"/>
          <p:cNvSpPr>
            <a:spLocks noGrp="1"/>
          </p:cNvSpPr>
          <p:nvPr>
            <p:ph type="pic" idx="5"/>
          </p:nvPr>
        </p:nvSpPr>
        <p:spPr>
          <a:xfrm>
            <a:off x="5327253" y="1520826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12" name="Google Shape;512;p60"/>
          <p:cNvSpPr txBox="1">
            <a:spLocks noGrp="1"/>
          </p:cNvSpPr>
          <p:nvPr>
            <p:ph type="body" idx="6"/>
          </p:nvPr>
        </p:nvSpPr>
        <p:spPr>
          <a:xfrm>
            <a:off x="5327253" y="3122612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3" name="Google Shape;513;p60"/>
          <p:cNvSpPr>
            <a:spLocks noGrp="1"/>
          </p:cNvSpPr>
          <p:nvPr>
            <p:ph type="pic" idx="7"/>
          </p:nvPr>
        </p:nvSpPr>
        <p:spPr>
          <a:xfrm>
            <a:off x="7613848" y="1520826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14" name="Google Shape;514;p60"/>
          <p:cNvSpPr txBox="1">
            <a:spLocks noGrp="1"/>
          </p:cNvSpPr>
          <p:nvPr>
            <p:ph type="body" idx="8"/>
          </p:nvPr>
        </p:nvSpPr>
        <p:spPr>
          <a:xfrm>
            <a:off x="7613848" y="3122612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5" name="Google Shape;515;p60"/>
          <p:cNvSpPr>
            <a:spLocks noGrp="1"/>
          </p:cNvSpPr>
          <p:nvPr>
            <p:ph type="pic" idx="9"/>
          </p:nvPr>
        </p:nvSpPr>
        <p:spPr>
          <a:xfrm>
            <a:off x="9900444" y="1520826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16" name="Google Shape;516;p60"/>
          <p:cNvSpPr txBox="1">
            <a:spLocks noGrp="1"/>
          </p:cNvSpPr>
          <p:nvPr>
            <p:ph type="body" idx="13"/>
          </p:nvPr>
        </p:nvSpPr>
        <p:spPr>
          <a:xfrm>
            <a:off x="9900444" y="3122612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7" name="Google Shape;517;p60"/>
          <p:cNvSpPr>
            <a:spLocks noGrp="1"/>
          </p:cNvSpPr>
          <p:nvPr>
            <p:ph type="pic" idx="14"/>
          </p:nvPr>
        </p:nvSpPr>
        <p:spPr>
          <a:xfrm>
            <a:off x="754063" y="3814083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18" name="Google Shape;518;p60"/>
          <p:cNvSpPr txBox="1">
            <a:spLocks noGrp="1"/>
          </p:cNvSpPr>
          <p:nvPr>
            <p:ph type="body" idx="15"/>
          </p:nvPr>
        </p:nvSpPr>
        <p:spPr>
          <a:xfrm>
            <a:off x="754063" y="5415869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9" name="Google Shape;519;p60"/>
          <p:cNvSpPr>
            <a:spLocks noGrp="1"/>
          </p:cNvSpPr>
          <p:nvPr>
            <p:ph type="pic" idx="16"/>
          </p:nvPr>
        </p:nvSpPr>
        <p:spPr>
          <a:xfrm>
            <a:off x="3040658" y="3814083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20" name="Google Shape;520;p60"/>
          <p:cNvSpPr txBox="1">
            <a:spLocks noGrp="1"/>
          </p:cNvSpPr>
          <p:nvPr>
            <p:ph type="body" idx="17"/>
          </p:nvPr>
        </p:nvSpPr>
        <p:spPr>
          <a:xfrm>
            <a:off x="3040658" y="5415869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1" name="Google Shape;521;p60"/>
          <p:cNvSpPr>
            <a:spLocks noGrp="1"/>
          </p:cNvSpPr>
          <p:nvPr>
            <p:ph type="pic" idx="18"/>
          </p:nvPr>
        </p:nvSpPr>
        <p:spPr>
          <a:xfrm>
            <a:off x="5327253" y="3814083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22" name="Google Shape;522;p60"/>
          <p:cNvSpPr txBox="1">
            <a:spLocks noGrp="1"/>
          </p:cNvSpPr>
          <p:nvPr>
            <p:ph type="body" idx="19"/>
          </p:nvPr>
        </p:nvSpPr>
        <p:spPr>
          <a:xfrm>
            <a:off x="5327253" y="5415869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3" name="Google Shape;523;p60"/>
          <p:cNvSpPr>
            <a:spLocks noGrp="1"/>
          </p:cNvSpPr>
          <p:nvPr>
            <p:ph type="pic" idx="20"/>
          </p:nvPr>
        </p:nvSpPr>
        <p:spPr>
          <a:xfrm>
            <a:off x="7613848" y="3814083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24" name="Google Shape;524;p60"/>
          <p:cNvSpPr txBox="1">
            <a:spLocks noGrp="1"/>
          </p:cNvSpPr>
          <p:nvPr>
            <p:ph type="body" idx="21"/>
          </p:nvPr>
        </p:nvSpPr>
        <p:spPr>
          <a:xfrm>
            <a:off x="7613848" y="5415869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5" name="Google Shape;525;p60"/>
          <p:cNvSpPr>
            <a:spLocks noGrp="1"/>
          </p:cNvSpPr>
          <p:nvPr>
            <p:ph type="pic" idx="22"/>
          </p:nvPr>
        </p:nvSpPr>
        <p:spPr>
          <a:xfrm>
            <a:off x="9900444" y="3814083"/>
            <a:ext cx="1529556" cy="15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26" name="Google Shape;526;p60"/>
          <p:cNvSpPr txBox="1">
            <a:spLocks noGrp="1"/>
          </p:cNvSpPr>
          <p:nvPr>
            <p:ph type="body" idx="23"/>
          </p:nvPr>
        </p:nvSpPr>
        <p:spPr>
          <a:xfrm>
            <a:off x="9900444" y="5415869"/>
            <a:ext cx="1530000" cy="6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12181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actoid layouts">
  <p:cSld name="Factoid layouts">
    <p:bg>
      <p:bgPr>
        <a:solidFill>
          <a:schemeClr val="dk1"/>
        </a:solidFill>
        <a:effectLst/>
      </p:bgPr>
    </p:bg>
    <p:spTree>
      <p:nvGrpSpPr>
        <p:cNvPr id="1" name="Shape 5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8" name="Google Shape;528;p61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9" name="Google Shape;529;p61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0" name="Google Shape;530;p61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31" name="Google Shape;531;p61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500" b="0" i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FACTOID</a:t>
            </a:r>
            <a:br>
              <a:rPr lang="en-US" sz="11500" b="0" i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1500" b="0" i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LAYOUTS</a:t>
            </a:r>
            <a:endParaRPr/>
          </a:p>
        </p:txBody>
      </p:sp>
      <p:sp>
        <p:nvSpPr>
          <p:cNvPr id="532" name="Google Shape;532;p61"/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76695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llustration with Factoid">
  <p:cSld name="Illustration with Factoid">
    <p:spTree>
      <p:nvGrpSpPr>
        <p:cNvPr id="1" name="Shape 5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4" name="Google Shape;534;p62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5" name="Google Shape;535;p62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6" name="Google Shape;536;p62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37" name="Google Shape;537;p62"/>
          <p:cNvSpPr txBox="1">
            <a:spLocks noGrp="1"/>
          </p:cNvSpPr>
          <p:nvPr>
            <p:ph type="body" idx="1"/>
          </p:nvPr>
        </p:nvSpPr>
        <p:spPr>
          <a:xfrm>
            <a:off x="4495799" y="2661861"/>
            <a:ext cx="5344954" cy="923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None/>
              <a:defRPr sz="6000" b="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8" name="Google Shape;538;p62"/>
          <p:cNvSpPr txBox="1">
            <a:spLocks noGrp="1"/>
          </p:cNvSpPr>
          <p:nvPr>
            <p:ph type="body" idx="2"/>
          </p:nvPr>
        </p:nvSpPr>
        <p:spPr>
          <a:xfrm>
            <a:off x="4495800" y="3637927"/>
            <a:ext cx="5344954" cy="11005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9" name="Google Shape;539;p62"/>
          <p:cNvSpPr txBox="1">
            <a:spLocks noGrp="1"/>
          </p:cNvSpPr>
          <p:nvPr>
            <p:ph type="body" idx="3"/>
          </p:nvPr>
        </p:nvSpPr>
        <p:spPr>
          <a:xfrm>
            <a:off x="2174489" y="2483443"/>
            <a:ext cx="2210344" cy="23545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81796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actoid Split Dark">
  <p:cSld name="Factoid Split Dark">
    <p:bg>
      <p:bgPr>
        <a:solidFill>
          <a:schemeClr val="dk1"/>
        </a:solidFill>
        <a:effectLst/>
      </p:bgPr>
    </p:bg>
    <p:spTree>
      <p:nvGrpSpPr>
        <p:cNvPr id="1" name="Shape 5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" name="Google Shape;549;p64"/>
          <p:cNvSpPr/>
          <p:nvPr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0" name="Google Shape;550;p64"/>
          <p:cNvSpPr/>
          <p:nvPr/>
        </p:nvSpPr>
        <p:spPr>
          <a:xfrm>
            <a:off x="6096000" y="0"/>
            <a:ext cx="6096000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1" name="Google Shape;551;p64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5056632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2" name="Google Shape;552;p64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3" name="Google Shape;553;p64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7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54" name="Google Shape;554;p64"/>
          <p:cNvSpPr txBox="1">
            <a:spLocks noGrp="1"/>
          </p:cNvSpPr>
          <p:nvPr>
            <p:ph type="body" idx="1"/>
          </p:nvPr>
        </p:nvSpPr>
        <p:spPr>
          <a:xfrm>
            <a:off x="500064" y="2350522"/>
            <a:ext cx="5095874" cy="2254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5" name="Google Shape;555;p64"/>
          <p:cNvSpPr txBox="1">
            <a:spLocks noGrp="1"/>
          </p:cNvSpPr>
          <p:nvPr>
            <p:ph type="body" idx="2"/>
          </p:nvPr>
        </p:nvSpPr>
        <p:spPr>
          <a:xfrm>
            <a:off x="6235700" y="1235904"/>
            <a:ext cx="2863693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0"/>
              <a:buNone/>
              <a:defRPr sz="80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6" name="Google Shape;556;p64"/>
          <p:cNvSpPr txBox="1">
            <a:spLocks noGrp="1"/>
          </p:cNvSpPr>
          <p:nvPr>
            <p:ph type="body" idx="3"/>
          </p:nvPr>
        </p:nvSpPr>
        <p:spPr>
          <a:xfrm>
            <a:off x="9233204" y="1415428"/>
            <a:ext cx="2458733" cy="8371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7" name="Google Shape;557;p64"/>
          <p:cNvSpPr txBox="1">
            <a:spLocks noGrp="1"/>
          </p:cNvSpPr>
          <p:nvPr>
            <p:ph type="body" idx="4"/>
          </p:nvPr>
        </p:nvSpPr>
        <p:spPr>
          <a:xfrm>
            <a:off x="7667546" y="3801447"/>
            <a:ext cx="2937214" cy="20908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08659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ight Numbered Facts">
  <p:cSld name="Eight Numbered Facts">
    <p:spTree>
      <p:nvGrpSpPr>
        <p:cNvPr id="1" name="Shape 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9" name="Google Shape;559;p65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0" name="Google Shape;560;p65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1" name="Google Shape;561;p65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62" name="Google Shape;562;p65"/>
          <p:cNvSpPr txBox="1">
            <a:spLocks noGrp="1"/>
          </p:cNvSpPr>
          <p:nvPr>
            <p:ph type="body" idx="1"/>
          </p:nvPr>
        </p:nvSpPr>
        <p:spPr>
          <a:xfrm>
            <a:off x="799032" y="2645919"/>
            <a:ext cx="2286595" cy="101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3" name="Google Shape;563;p65"/>
          <p:cNvSpPr txBox="1">
            <a:spLocks noGrp="1"/>
          </p:cNvSpPr>
          <p:nvPr>
            <p:ph type="body" idx="2"/>
          </p:nvPr>
        </p:nvSpPr>
        <p:spPr>
          <a:xfrm>
            <a:off x="799034" y="2009049"/>
            <a:ext cx="6048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None/>
              <a:defRPr sz="40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4" name="Google Shape;564;p65"/>
          <p:cNvSpPr txBox="1">
            <a:spLocks noGrp="1"/>
          </p:cNvSpPr>
          <p:nvPr>
            <p:ph type="body" idx="3"/>
          </p:nvPr>
        </p:nvSpPr>
        <p:spPr>
          <a:xfrm>
            <a:off x="1403870" y="2009049"/>
            <a:ext cx="1681759" cy="60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9142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5" name="Google Shape;565;p65"/>
          <p:cNvSpPr txBox="1">
            <a:spLocks noGrp="1"/>
          </p:cNvSpPr>
          <p:nvPr>
            <p:ph type="body" idx="4"/>
          </p:nvPr>
        </p:nvSpPr>
        <p:spPr>
          <a:xfrm>
            <a:off x="3564953" y="2645919"/>
            <a:ext cx="2286595" cy="101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6" name="Google Shape;566;p65"/>
          <p:cNvSpPr txBox="1">
            <a:spLocks noGrp="1"/>
          </p:cNvSpPr>
          <p:nvPr>
            <p:ph type="body" idx="5"/>
          </p:nvPr>
        </p:nvSpPr>
        <p:spPr>
          <a:xfrm>
            <a:off x="3564955" y="2009049"/>
            <a:ext cx="6048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None/>
              <a:defRPr sz="40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7" name="Google Shape;567;p65"/>
          <p:cNvSpPr txBox="1">
            <a:spLocks noGrp="1"/>
          </p:cNvSpPr>
          <p:nvPr>
            <p:ph type="body" idx="6"/>
          </p:nvPr>
        </p:nvSpPr>
        <p:spPr>
          <a:xfrm>
            <a:off x="4169791" y="2009049"/>
            <a:ext cx="1681759" cy="60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9142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8" name="Google Shape;568;p65"/>
          <p:cNvSpPr txBox="1">
            <a:spLocks noGrp="1"/>
          </p:cNvSpPr>
          <p:nvPr>
            <p:ph type="body" idx="7"/>
          </p:nvPr>
        </p:nvSpPr>
        <p:spPr>
          <a:xfrm>
            <a:off x="6355954" y="2643295"/>
            <a:ext cx="2286595" cy="101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9" name="Google Shape;569;p65"/>
          <p:cNvSpPr txBox="1">
            <a:spLocks noGrp="1"/>
          </p:cNvSpPr>
          <p:nvPr>
            <p:ph type="body" idx="8"/>
          </p:nvPr>
        </p:nvSpPr>
        <p:spPr>
          <a:xfrm>
            <a:off x="6355956" y="2006425"/>
            <a:ext cx="6048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None/>
              <a:defRPr sz="40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0" name="Google Shape;570;p65"/>
          <p:cNvSpPr txBox="1">
            <a:spLocks noGrp="1"/>
          </p:cNvSpPr>
          <p:nvPr>
            <p:ph type="body" idx="9"/>
          </p:nvPr>
        </p:nvSpPr>
        <p:spPr>
          <a:xfrm>
            <a:off x="6960792" y="2006425"/>
            <a:ext cx="1681759" cy="60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9142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1" name="Google Shape;571;p65"/>
          <p:cNvSpPr txBox="1">
            <a:spLocks noGrp="1"/>
          </p:cNvSpPr>
          <p:nvPr>
            <p:ph type="body" idx="13"/>
          </p:nvPr>
        </p:nvSpPr>
        <p:spPr>
          <a:xfrm>
            <a:off x="9087822" y="2645919"/>
            <a:ext cx="2286595" cy="101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2" name="Google Shape;572;p65"/>
          <p:cNvSpPr txBox="1">
            <a:spLocks noGrp="1"/>
          </p:cNvSpPr>
          <p:nvPr>
            <p:ph type="body" idx="14"/>
          </p:nvPr>
        </p:nvSpPr>
        <p:spPr>
          <a:xfrm>
            <a:off x="9087824" y="2009049"/>
            <a:ext cx="6048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None/>
              <a:defRPr sz="40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3" name="Google Shape;573;p65"/>
          <p:cNvSpPr txBox="1">
            <a:spLocks noGrp="1"/>
          </p:cNvSpPr>
          <p:nvPr>
            <p:ph type="body" idx="15"/>
          </p:nvPr>
        </p:nvSpPr>
        <p:spPr>
          <a:xfrm>
            <a:off x="9692660" y="2009049"/>
            <a:ext cx="1681759" cy="60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9142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4" name="Google Shape;574;p65"/>
          <p:cNvSpPr txBox="1">
            <a:spLocks noGrp="1"/>
          </p:cNvSpPr>
          <p:nvPr>
            <p:ph type="body" idx="16"/>
          </p:nvPr>
        </p:nvSpPr>
        <p:spPr>
          <a:xfrm>
            <a:off x="799032" y="4578907"/>
            <a:ext cx="2286595" cy="101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5" name="Google Shape;575;p65"/>
          <p:cNvSpPr txBox="1">
            <a:spLocks noGrp="1"/>
          </p:cNvSpPr>
          <p:nvPr>
            <p:ph type="body" idx="17"/>
          </p:nvPr>
        </p:nvSpPr>
        <p:spPr>
          <a:xfrm>
            <a:off x="799034" y="3942037"/>
            <a:ext cx="6048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None/>
              <a:defRPr sz="40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6" name="Google Shape;576;p65"/>
          <p:cNvSpPr txBox="1">
            <a:spLocks noGrp="1"/>
          </p:cNvSpPr>
          <p:nvPr>
            <p:ph type="body" idx="18"/>
          </p:nvPr>
        </p:nvSpPr>
        <p:spPr>
          <a:xfrm>
            <a:off x="1403870" y="3942037"/>
            <a:ext cx="1681759" cy="60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9142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7" name="Google Shape;577;p65"/>
          <p:cNvSpPr txBox="1">
            <a:spLocks noGrp="1"/>
          </p:cNvSpPr>
          <p:nvPr>
            <p:ph type="body" idx="19"/>
          </p:nvPr>
        </p:nvSpPr>
        <p:spPr>
          <a:xfrm>
            <a:off x="3564953" y="4578907"/>
            <a:ext cx="2286595" cy="101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8" name="Google Shape;578;p65"/>
          <p:cNvSpPr txBox="1">
            <a:spLocks noGrp="1"/>
          </p:cNvSpPr>
          <p:nvPr>
            <p:ph type="body" idx="20"/>
          </p:nvPr>
        </p:nvSpPr>
        <p:spPr>
          <a:xfrm>
            <a:off x="3564955" y="3942037"/>
            <a:ext cx="6048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None/>
              <a:defRPr sz="40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9" name="Google Shape;579;p65"/>
          <p:cNvSpPr txBox="1">
            <a:spLocks noGrp="1"/>
          </p:cNvSpPr>
          <p:nvPr>
            <p:ph type="body" idx="21"/>
          </p:nvPr>
        </p:nvSpPr>
        <p:spPr>
          <a:xfrm>
            <a:off x="4169791" y="3942037"/>
            <a:ext cx="1681759" cy="60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9142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0" name="Google Shape;580;p65"/>
          <p:cNvSpPr txBox="1">
            <a:spLocks noGrp="1"/>
          </p:cNvSpPr>
          <p:nvPr>
            <p:ph type="body" idx="22"/>
          </p:nvPr>
        </p:nvSpPr>
        <p:spPr>
          <a:xfrm>
            <a:off x="6355954" y="4576283"/>
            <a:ext cx="2286595" cy="101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1" name="Google Shape;581;p65"/>
          <p:cNvSpPr txBox="1">
            <a:spLocks noGrp="1"/>
          </p:cNvSpPr>
          <p:nvPr>
            <p:ph type="body" idx="23"/>
          </p:nvPr>
        </p:nvSpPr>
        <p:spPr>
          <a:xfrm>
            <a:off x="6355956" y="3939413"/>
            <a:ext cx="6048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None/>
              <a:defRPr sz="40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2" name="Google Shape;582;p65"/>
          <p:cNvSpPr txBox="1">
            <a:spLocks noGrp="1"/>
          </p:cNvSpPr>
          <p:nvPr>
            <p:ph type="body" idx="24"/>
          </p:nvPr>
        </p:nvSpPr>
        <p:spPr>
          <a:xfrm>
            <a:off x="6960792" y="3939413"/>
            <a:ext cx="1681759" cy="60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9142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3" name="Google Shape;583;p65"/>
          <p:cNvSpPr txBox="1">
            <a:spLocks noGrp="1"/>
          </p:cNvSpPr>
          <p:nvPr>
            <p:ph type="body" idx="25"/>
          </p:nvPr>
        </p:nvSpPr>
        <p:spPr>
          <a:xfrm>
            <a:off x="9087822" y="4578907"/>
            <a:ext cx="2286595" cy="101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4" name="Google Shape;584;p65"/>
          <p:cNvSpPr txBox="1">
            <a:spLocks noGrp="1"/>
          </p:cNvSpPr>
          <p:nvPr>
            <p:ph type="body" idx="26"/>
          </p:nvPr>
        </p:nvSpPr>
        <p:spPr>
          <a:xfrm>
            <a:off x="9087824" y="3942037"/>
            <a:ext cx="6048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None/>
              <a:defRPr sz="40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5" name="Google Shape;585;p65"/>
          <p:cNvSpPr txBox="1">
            <a:spLocks noGrp="1"/>
          </p:cNvSpPr>
          <p:nvPr>
            <p:ph type="body" idx="27"/>
          </p:nvPr>
        </p:nvSpPr>
        <p:spPr>
          <a:xfrm>
            <a:off x="9692660" y="3942037"/>
            <a:ext cx="1681759" cy="60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9142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41582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ight Numbers Facts Dark">
  <p:cSld name="Eight Numbers Facts Dark">
    <p:bg>
      <p:bgPr>
        <a:solidFill>
          <a:schemeClr val="dk1"/>
        </a:solidFill>
        <a:effectLst/>
      </p:bgPr>
    </p:bg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66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2256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b="0" i="0"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8" name="Google Shape;588;p66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9" name="Google Shape;589;p66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90" name="Google Shape;590;p66"/>
          <p:cNvSpPr txBox="1">
            <a:spLocks noGrp="1"/>
          </p:cNvSpPr>
          <p:nvPr>
            <p:ph type="body" idx="1"/>
          </p:nvPr>
        </p:nvSpPr>
        <p:spPr>
          <a:xfrm>
            <a:off x="799032" y="2645919"/>
            <a:ext cx="2286595" cy="101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1" name="Google Shape;591;p66"/>
          <p:cNvSpPr txBox="1">
            <a:spLocks noGrp="1"/>
          </p:cNvSpPr>
          <p:nvPr>
            <p:ph type="body" idx="2"/>
          </p:nvPr>
        </p:nvSpPr>
        <p:spPr>
          <a:xfrm>
            <a:off x="799034" y="2009049"/>
            <a:ext cx="6048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2" name="Google Shape;592;p66"/>
          <p:cNvSpPr txBox="1">
            <a:spLocks noGrp="1"/>
          </p:cNvSpPr>
          <p:nvPr>
            <p:ph type="body" idx="3"/>
          </p:nvPr>
        </p:nvSpPr>
        <p:spPr>
          <a:xfrm>
            <a:off x="1403870" y="2009049"/>
            <a:ext cx="1681759" cy="60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9142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1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3" name="Google Shape;593;p66"/>
          <p:cNvSpPr txBox="1">
            <a:spLocks noGrp="1"/>
          </p:cNvSpPr>
          <p:nvPr>
            <p:ph type="body" idx="4"/>
          </p:nvPr>
        </p:nvSpPr>
        <p:spPr>
          <a:xfrm>
            <a:off x="3564953" y="2645919"/>
            <a:ext cx="2286595" cy="101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4" name="Google Shape;594;p66"/>
          <p:cNvSpPr txBox="1">
            <a:spLocks noGrp="1"/>
          </p:cNvSpPr>
          <p:nvPr>
            <p:ph type="body" idx="5"/>
          </p:nvPr>
        </p:nvSpPr>
        <p:spPr>
          <a:xfrm>
            <a:off x="3564955" y="2009049"/>
            <a:ext cx="6048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5" name="Google Shape;595;p66"/>
          <p:cNvSpPr txBox="1">
            <a:spLocks noGrp="1"/>
          </p:cNvSpPr>
          <p:nvPr>
            <p:ph type="body" idx="6"/>
          </p:nvPr>
        </p:nvSpPr>
        <p:spPr>
          <a:xfrm>
            <a:off x="4169791" y="2009049"/>
            <a:ext cx="1681759" cy="60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9142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1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6" name="Google Shape;596;p66"/>
          <p:cNvSpPr txBox="1">
            <a:spLocks noGrp="1"/>
          </p:cNvSpPr>
          <p:nvPr>
            <p:ph type="body" idx="7"/>
          </p:nvPr>
        </p:nvSpPr>
        <p:spPr>
          <a:xfrm>
            <a:off x="6355954" y="2643295"/>
            <a:ext cx="2286595" cy="101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7" name="Google Shape;597;p66"/>
          <p:cNvSpPr txBox="1">
            <a:spLocks noGrp="1"/>
          </p:cNvSpPr>
          <p:nvPr>
            <p:ph type="body" idx="8"/>
          </p:nvPr>
        </p:nvSpPr>
        <p:spPr>
          <a:xfrm>
            <a:off x="6355956" y="2006425"/>
            <a:ext cx="6048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8" name="Google Shape;598;p66"/>
          <p:cNvSpPr txBox="1">
            <a:spLocks noGrp="1"/>
          </p:cNvSpPr>
          <p:nvPr>
            <p:ph type="body" idx="9"/>
          </p:nvPr>
        </p:nvSpPr>
        <p:spPr>
          <a:xfrm>
            <a:off x="6960792" y="2006425"/>
            <a:ext cx="1681759" cy="60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9142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1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9" name="Google Shape;599;p66"/>
          <p:cNvSpPr txBox="1">
            <a:spLocks noGrp="1"/>
          </p:cNvSpPr>
          <p:nvPr>
            <p:ph type="body" idx="13"/>
          </p:nvPr>
        </p:nvSpPr>
        <p:spPr>
          <a:xfrm>
            <a:off x="9087822" y="2645919"/>
            <a:ext cx="2286595" cy="101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0" name="Google Shape;600;p66"/>
          <p:cNvSpPr txBox="1">
            <a:spLocks noGrp="1"/>
          </p:cNvSpPr>
          <p:nvPr>
            <p:ph type="body" idx="14"/>
          </p:nvPr>
        </p:nvSpPr>
        <p:spPr>
          <a:xfrm>
            <a:off x="9087824" y="2009049"/>
            <a:ext cx="6048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1" name="Google Shape;601;p66"/>
          <p:cNvSpPr txBox="1">
            <a:spLocks noGrp="1"/>
          </p:cNvSpPr>
          <p:nvPr>
            <p:ph type="body" idx="15"/>
          </p:nvPr>
        </p:nvSpPr>
        <p:spPr>
          <a:xfrm>
            <a:off x="9692660" y="2009049"/>
            <a:ext cx="1681759" cy="60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9142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1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2" name="Google Shape;602;p66"/>
          <p:cNvSpPr txBox="1">
            <a:spLocks noGrp="1"/>
          </p:cNvSpPr>
          <p:nvPr>
            <p:ph type="body" idx="16"/>
          </p:nvPr>
        </p:nvSpPr>
        <p:spPr>
          <a:xfrm>
            <a:off x="799032" y="4578907"/>
            <a:ext cx="2286595" cy="101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3" name="Google Shape;603;p66"/>
          <p:cNvSpPr txBox="1">
            <a:spLocks noGrp="1"/>
          </p:cNvSpPr>
          <p:nvPr>
            <p:ph type="body" idx="17"/>
          </p:nvPr>
        </p:nvSpPr>
        <p:spPr>
          <a:xfrm>
            <a:off x="799034" y="3942037"/>
            <a:ext cx="6048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4" name="Google Shape;604;p66"/>
          <p:cNvSpPr txBox="1">
            <a:spLocks noGrp="1"/>
          </p:cNvSpPr>
          <p:nvPr>
            <p:ph type="body" idx="18"/>
          </p:nvPr>
        </p:nvSpPr>
        <p:spPr>
          <a:xfrm>
            <a:off x="1403870" y="3942037"/>
            <a:ext cx="1681759" cy="60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9142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1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5" name="Google Shape;605;p66"/>
          <p:cNvSpPr txBox="1">
            <a:spLocks noGrp="1"/>
          </p:cNvSpPr>
          <p:nvPr>
            <p:ph type="body" idx="19"/>
          </p:nvPr>
        </p:nvSpPr>
        <p:spPr>
          <a:xfrm>
            <a:off x="3564953" y="4578907"/>
            <a:ext cx="2286595" cy="101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6" name="Google Shape;606;p66"/>
          <p:cNvSpPr txBox="1">
            <a:spLocks noGrp="1"/>
          </p:cNvSpPr>
          <p:nvPr>
            <p:ph type="body" idx="20"/>
          </p:nvPr>
        </p:nvSpPr>
        <p:spPr>
          <a:xfrm>
            <a:off x="3564955" y="3942037"/>
            <a:ext cx="6048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7" name="Google Shape;607;p66"/>
          <p:cNvSpPr txBox="1">
            <a:spLocks noGrp="1"/>
          </p:cNvSpPr>
          <p:nvPr>
            <p:ph type="body" idx="21"/>
          </p:nvPr>
        </p:nvSpPr>
        <p:spPr>
          <a:xfrm>
            <a:off x="4169791" y="3942037"/>
            <a:ext cx="1681759" cy="60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9142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1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8" name="Google Shape;608;p66"/>
          <p:cNvSpPr txBox="1">
            <a:spLocks noGrp="1"/>
          </p:cNvSpPr>
          <p:nvPr>
            <p:ph type="body" idx="22"/>
          </p:nvPr>
        </p:nvSpPr>
        <p:spPr>
          <a:xfrm>
            <a:off x="6355954" y="4576283"/>
            <a:ext cx="2286595" cy="101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9" name="Google Shape;609;p66"/>
          <p:cNvSpPr txBox="1">
            <a:spLocks noGrp="1"/>
          </p:cNvSpPr>
          <p:nvPr>
            <p:ph type="body" idx="23"/>
          </p:nvPr>
        </p:nvSpPr>
        <p:spPr>
          <a:xfrm>
            <a:off x="6355956" y="3939413"/>
            <a:ext cx="6048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0" name="Google Shape;610;p66"/>
          <p:cNvSpPr txBox="1">
            <a:spLocks noGrp="1"/>
          </p:cNvSpPr>
          <p:nvPr>
            <p:ph type="body" idx="24"/>
          </p:nvPr>
        </p:nvSpPr>
        <p:spPr>
          <a:xfrm>
            <a:off x="6960792" y="3939413"/>
            <a:ext cx="1681759" cy="60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9142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1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1" name="Google Shape;611;p66"/>
          <p:cNvSpPr txBox="1">
            <a:spLocks noGrp="1"/>
          </p:cNvSpPr>
          <p:nvPr>
            <p:ph type="body" idx="25"/>
          </p:nvPr>
        </p:nvSpPr>
        <p:spPr>
          <a:xfrm>
            <a:off x="9087822" y="4578907"/>
            <a:ext cx="2286595" cy="101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 b="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2" name="Google Shape;612;p66"/>
          <p:cNvSpPr txBox="1">
            <a:spLocks noGrp="1"/>
          </p:cNvSpPr>
          <p:nvPr>
            <p:ph type="body" idx="26"/>
          </p:nvPr>
        </p:nvSpPr>
        <p:spPr>
          <a:xfrm>
            <a:off x="9087824" y="3942037"/>
            <a:ext cx="60483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3" name="Google Shape;613;p66"/>
          <p:cNvSpPr txBox="1">
            <a:spLocks noGrp="1"/>
          </p:cNvSpPr>
          <p:nvPr>
            <p:ph type="body" idx="27"/>
          </p:nvPr>
        </p:nvSpPr>
        <p:spPr>
          <a:xfrm>
            <a:off x="9692660" y="3942037"/>
            <a:ext cx="1681759" cy="60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9142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1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8433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6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" name="Google Shape;615;p67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16" name="Google Shape;616;p67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4636713" cy="28002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400"/>
              <a:buFont typeface="Calibri"/>
              <a:buNone/>
              <a:defRPr sz="54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7" name="Google Shape;617;p67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8" name="Google Shape;618;p67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1339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Section Header 4">
  <p:cSld name="1_Section Header 4">
    <p:bg>
      <p:bgPr>
        <a:solidFill>
          <a:schemeClr val="accent2"/>
        </a:solidFill>
        <a:effectLst/>
      </p:bgPr>
    </p:bg>
    <p:spTree>
      <p:nvGrpSpPr>
        <p:cNvPr id="1" name="Shape 6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5" name="Google Shape;625;p69"/>
          <p:cNvSpPr txBox="1">
            <a:spLocks noGrp="1"/>
          </p:cNvSpPr>
          <p:nvPr>
            <p:ph type="ctrTitle"/>
          </p:nvPr>
        </p:nvSpPr>
        <p:spPr>
          <a:xfrm>
            <a:off x="535141" y="446743"/>
            <a:ext cx="3778097" cy="26903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Calibri"/>
              <a:buNone/>
              <a:defRPr sz="4400" b="0" i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6" name="Google Shape;626;p69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7" name="Google Shape;627;p69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28" name="Google Shape;628;p69"/>
          <p:cNvSpPr txBox="1">
            <a:spLocks noGrp="1"/>
          </p:cNvSpPr>
          <p:nvPr>
            <p:ph type="subTitle" idx="1"/>
          </p:nvPr>
        </p:nvSpPr>
        <p:spPr>
          <a:xfrm>
            <a:off x="542624" y="3436642"/>
            <a:ext cx="3773609" cy="2452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 sz="1500" b="0">
                <a:solidFill>
                  <a:schemeClr val="lt1"/>
                </a:solidFill>
              </a:defRPr>
            </a:lvl1pPr>
            <a:lvl2pPr lvl="1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21592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Section Header 5">
  <p:cSld name="1_Section Header 5">
    <p:bg>
      <p:bgPr>
        <a:solidFill>
          <a:schemeClr val="accent1"/>
        </a:solidFill>
        <a:effectLst/>
      </p:bgPr>
    </p:bg>
    <p:spTree>
      <p:nvGrpSpPr>
        <p:cNvPr id="1" name="Shape 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Google Shape;630;p70"/>
          <p:cNvSpPr txBox="1">
            <a:spLocks noGrp="1"/>
          </p:cNvSpPr>
          <p:nvPr>
            <p:ph type="ctrTitle"/>
          </p:nvPr>
        </p:nvSpPr>
        <p:spPr>
          <a:xfrm>
            <a:off x="535141" y="446743"/>
            <a:ext cx="3778097" cy="26903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Calibri"/>
              <a:buNone/>
              <a:defRPr sz="4400" b="0" i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1" name="Google Shape;631;p70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70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33" name="Google Shape;633;p70"/>
          <p:cNvSpPr txBox="1">
            <a:spLocks noGrp="1"/>
          </p:cNvSpPr>
          <p:nvPr>
            <p:ph type="subTitle" idx="1"/>
          </p:nvPr>
        </p:nvSpPr>
        <p:spPr>
          <a:xfrm>
            <a:off x="542624" y="3436642"/>
            <a:ext cx="3773609" cy="2452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 sz="1500" b="0">
                <a:solidFill>
                  <a:schemeClr val="lt1"/>
                </a:solidFill>
              </a:defRPr>
            </a:lvl1pPr>
            <a:lvl2pPr lvl="1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39409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s">
  <p:cSld name="End Slides">
    <p:bg>
      <p:bgPr>
        <a:solidFill>
          <a:schemeClr val="dk1"/>
        </a:solidFill>
        <a:effectLst/>
      </p:bgPr>
    </p:bg>
    <p:spTree>
      <p:nvGrpSpPr>
        <p:cNvPr id="1" name="Shape 6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5" name="Google Shape;635;p71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6" name="Google Shape;636;p71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7" name="Google Shape;637;p71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38" name="Google Shape;638;p71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500" b="0" i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END SLIDES</a:t>
            </a:r>
            <a:endParaRPr/>
          </a:p>
        </p:txBody>
      </p:sp>
      <p:sp>
        <p:nvSpPr>
          <p:cNvPr id="639" name="Google Shape;639;p71"/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91150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598678-86C0-48BA-A39A-FF8C08834E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1E9215-17E8-49B1-A387-1E2239FBC9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9917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nd Slide with Illustration">
  <p:cSld name="End Slide with Illustration">
    <p:bg>
      <p:bgPr>
        <a:solidFill>
          <a:schemeClr val="dk1"/>
        </a:solidFill>
        <a:effectLst/>
      </p:bgPr>
    </p:bg>
    <p:spTree>
      <p:nvGrpSpPr>
        <p:cNvPr id="1" name="Shape 6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1" name="Google Shape;641;p72"/>
          <p:cNvSpPr/>
          <p:nvPr/>
        </p:nvSpPr>
        <p:spPr>
          <a:xfrm>
            <a:off x="6095747" y="0"/>
            <a:ext cx="6096253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2" name="Google Shape;642;p72"/>
          <p:cNvSpPr/>
          <p:nvPr/>
        </p:nvSpPr>
        <p:spPr>
          <a:xfrm>
            <a:off x="0" y="0"/>
            <a:ext cx="6096000" cy="55839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3" name="Google Shape;643;p72"/>
          <p:cNvSpPr txBox="1">
            <a:spLocks noGrp="1"/>
          </p:cNvSpPr>
          <p:nvPr>
            <p:ph type="ctrTitle"/>
          </p:nvPr>
        </p:nvSpPr>
        <p:spPr>
          <a:xfrm>
            <a:off x="515939" y="1983105"/>
            <a:ext cx="5454650" cy="18402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Font typeface="Calibri"/>
              <a:buNone/>
              <a:defRPr sz="6200" b="0" i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44" name="Google Shape;644;p72"/>
          <p:cNvGrpSpPr/>
          <p:nvPr/>
        </p:nvGrpSpPr>
        <p:grpSpPr>
          <a:xfrm>
            <a:off x="504030" y="5995713"/>
            <a:ext cx="1527969" cy="354615"/>
            <a:chOff x="316" y="3952"/>
            <a:chExt cx="586" cy="136"/>
          </a:xfrm>
        </p:grpSpPr>
        <p:sp>
          <p:nvSpPr>
            <p:cNvPr id="645" name="Google Shape;645;p72"/>
            <p:cNvSpPr/>
            <p:nvPr/>
          </p:nvSpPr>
          <p:spPr>
            <a:xfrm>
              <a:off x="428" y="3990"/>
              <a:ext cx="66" cy="98"/>
            </a:xfrm>
            <a:custGeom>
              <a:avLst/>
              <a:gdLst/>
              <a:ahLst/>
              <a:cxnLst/>
              <a:rect l="l" t="t" r="r" b="b"/>
              <a:pathLst>
                <a:path w="2176" h="3230" extrusionOk="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6" name="Google Shape;646;p72"/>
            <p:cNvSpPr/>
            <p:nvPr/>
          </p:nvSpPr>
          <p:spPr>
            <a:xfrm>
              <a:off x="505" y="3991"/>
              <a:ext cx="85" cy="97"/>
            </a:xfrm>
            <a:custGeom>
              <a:avLst/>
              <a:gdLst/>
              <a:ahLst/>
              <a:cxnLst/>
              <a:rect l="l" t="t" r="r" b="b"/>
              <a:pathLst>
                <a:path w="2769" h="3192" extrusionOk="0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7" name="Google Shape;647;p72"/>
            <p:cNvSpPr/>
            <p:nvPr/>
          </p:nvSpPr>
          <p:spPr>
            <a:xfrm>
              <a:off x="608" y="3990"/>
              <a:ext cx="46" cy="97"/>
            </a:xfrm>
            <a:custGeom>
              <a:avLst/>
              <a:gdLst/>
              <a:ahLst/>
              <a:cxnLst/>
              <a:rect l="l" t="t" r="r" b="b"/>
              <a:pathLst>
                <a:path w="1508" h="3192" extrusionOk="0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8" name="Google Shape;648;p72"/>
            <p:cNvSpPr/>
            <p:nvPr/>
          </p:nvSpPr>
          <p:spPr>
            <a:xfrm>
              <a:off x="664" y="3952"/>
              <a:ext cx="28" cy="135"/>
            </a:xfrm>
            <a:custGeom>
              <a:avLst/>
              <a:gdLst/>
              <a:ahLst/>
              <a:cxnLst/>
              <a:rect l="l" t="t" r="r" b="b"/>
              <a:pathLst>
                <a:path w="934" h="4454" extrusionOk="0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9" name="Google Shape;649;p72"/>
            <p:cNvSpPr/>
            <p:nvPr/>
          </p:nvSpPr>
          <p:spPr>
            <a:xfrm>
              <a:off x="702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1" h="3230" extrusionOk="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0" name="Google Shape;650;p72"/>
            <p:cNvSpPr/>
            <p:nvPr/>
          </p:nvSpPr>
          <p:spPr>
            <a:xfrm>
              <a:off x="814" y="3990"/>
              <a:ext cx="88" cy="97"/>
            </a:xfrm>
            <a:custGeom>
              <a:avLst/>
              <a:gdLst/>
              <a:ahLst/>
              <a:cxnLst/>
              <a:rect l="l" t="t" r="r" b="b"/>
              <a:pathLst>
                <a:path w="2893" h="3211" extrusionOk="0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1" name="Google Shape;651;p72"/>
            <p:cNvSpPr/>
            <p:nvPr/>
          </p:nvSpPr>
          <p:spPr>
            <a:xfrm>
              <a:off x="316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0" h="3230" extrusionOk="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652" name="Google Shape;652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863791" y="1048609"/>
            <a:ext cx="4957148" cy="501546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77196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of Layouts">
  <p:cSld name="End of Layouts">
    <p:bg>
      <p:bgPr>
        <a:solidFill>
          <a:schemeClr val="dk1"/>
        </a:solidFill>
        <a:effectLst/>
      </p:bgPr>
    </p:bg>
    <p:spTree>
      <p:nvGrpSpPr>
        <p:cNvPr id="1" name="Shape 6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4" name="Google Shape;664;p74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5" name="Google Shape;665;p74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6" name="Google Shape;666;p74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67" name="Google Shape;667;p74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500" b="0" i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DO NOT USE </a:t>
            </a:r>
            <a:br>
              <a:rPr lang="en-US" sz="11500" b="0" i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1500" b="0" i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ANY LAYOUTS </a:t>
            </a:r>
            <a:br>
              <a:rPr lang="en-US" sz="11500" b="0" i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1500" b="0" i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PAST THIS POINT</a:t>
            </a:r>
            <a:endParaRPr sz="11500" b="0" i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8" name="Google Shape;668;p74"/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71072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Section Hea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A3B2CE-A3B3-4189-8B73-7FEBFEEA5D8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6858000"/>
          </a:xfrm>
        </p:spPr>
        <p:txBody>
          <a:bodyPr/>
          <a:lstStyle/>
          <a:p>
            <a:endParaRPr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35141" y="446743"/>
            <a:ext cx="3778097" cy="269035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/>
            </a:br>
            <a:r>
              <a:t>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542624" y="3436643"/>
            <a:ext cx="3773609" cy="67405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t>Click to edit Master subtitle style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urion_Internal_Use_Only</a:t>
            </a:r>
            <a:endParaRPr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grpSp>
        <p:nvGrpSpPr>
          <p:cNvPr id="11" name="asurion logo">
            <a:extLst>
              <a:ext uri="{FF2B5EF4-FFF2-40B4-BE49-F238E27FC236}">
                <a16:creationId xmlns:a16="http://schemas.microsoft.com/office/drawing/2014/main" id="{E1C5BE53-885F-4140-A2D0-795FBB7C123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04031" y="6390186"/>
            <a:ext cx="918000" cy="213052"/>
            <a:chOff x="316" y="3952"/>
            <a:chExt cx="586" cy="136"/>
          </a:xfrm>
          <a:solidFill>
            <a:schemeClr val="tx1"/>
          </a:solidFill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188848DB-B87D-B041-A849-970DFD53FD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DCA25C55-1346-AA4E-B99A-B92DB24C92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24A4990-4E45-BE4E-8F5C-8D885585F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A0CCF30B-EF01-9241-89DE-6194C640FB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69220C85-DAA7-BC4E-818D-2170A0678C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56C6BD5A-A22D-1140-84E9-1700B1F47F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E4641BA2-7F1D-F94D-A723-FAF1B048BF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298184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3F9B186-B379-43C9-BEFE-1C3220F80B34}"/>
              </a:ext>
            </a:extLst>
          </p:cNvPr>
          <p:cNvSpPr/>
          <p:nvPr/>
        </p:nvSpPr>
        <p:spPr>
          <a:xfrm>
            <a:off x="0" y="5598000"/>
            <a:ext cx="6096000" cy="126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4F442-ECB4-4EA4-AE95-53D8E965A64C}"/>
              </a:ext>
            </a:extLst>
          </p:cNvPr>
          <p:cNvSpPr/>
          <p:nvPr/>
        </p:nvSpPr>
        <p:spPr>
          <a:xfrm>
            <a:off x="6096000" y="5598000"/>
            <a:ext cx="6096000" cy="126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9" y="140677"/>
            <a:ext cx="5454650" cy="2453661"/>
          </a:xfrm>
        </p:spPr>
        <p:txBody>
          <a:bodyPr anchor="b"/>
          <a:lstStyle>
            <a:lvl1pPr algn="l">
              <a:lnSpc>
                <a:spcPct val="90000"/>
              </a:lnSpc>
              <a:defRPr sz="5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3022209"/>
            <a:ext cx="4086542" cy="2010506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t>Click to edit Master subtitle style</a:t>
            </a:r>
          </a:p>
        </p:txBody>
      </p:sp>
      <p:grpSp>
        <p:nvGrpSpPr>
          <p:cNvPr id="15" name="asurion logo">
            <a:extLst>
              <a:ext uri="{FF2B5EF4-FFF2-40B4-BE49-F238E27FC236}">
                <a16:creationId xmlns:a16="http://schemas.microsoft.com/office/drawing/2014/main" id="{742C3EE8-5E66-4064-AD77-262ED2AF10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0" y="5995713"/>
            <a:ext cx="1527969" cy="354615"/>
            <a:chOff x="316" y="3952"/>
            <a:chExt cx="586" cy="136"/>
          </a:xfrm>
          <a:solidFill>
            <a:schemeClr val="bg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9EF3FF97-F9E4-4229-93B3-D336E320D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9D763D80-7D31-4C23-92B5-7AA5C7093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D0697A47-C99B-4053-ADFB-D711F85AE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B1BCB078-E3E2-4D42-8199-4874325579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961A3D60-6C30-4644-91DF-BEEC5109B1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F348E325-407C-441C-B197-E60FC5A68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9F368039-5BAA-412B-A0CF-A7E83F9606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975679-7E40-4963-9C83-A613C95AA4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99238" y="6012655"/>
            <a:ext cx="3435350" cy="531812"/>
          </a:xfrm>
        </p:spPr>
        <p:txBody>
          <a:bodyPr anchor="ctr" anchorCtr="0"/>
          <a:lstStyle>
            <a:lvl1pPr>
              <a:lnSpc>
                <a:spcPct val="100000"/>
              </a:lnSpc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Presenter Name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7D42A3C6-0F61-41F7-B4CB-28E14C8D71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60000" y="6012655"/>
            <a:ext cx="1534575" cy="531812"/>
          </a:xfrm>
        </p:spPr>
        <p:txBody>
          <a:bodyPr anchor="ctr" anchorCtr="0"/>
          <a:lstStyle>
            <a:lvl1pPr algn="r">
              <a:lnSpc>
                <a:spcPct val="100000"/>
              </a:lnSpc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January 01, 2020</a:t>
            </a:r>
          </a:p>
        </p:txBody>
      </p:sp>
    </p:spTree>
    <p:extLst>
      <p:ext uri="{BB962C8B-B14F-4D97-AF65-F5344CB8AC3E}">
        <p14:creationId xmlns:p14="http://schemas.microsoft.com/office/powerpoint/2010/main" val="32522627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1698625"/>
            <a:ext cx="11191875" cy="4192588"/>
          </a:xfrm>
        </p:spPr>
        <p:txBody>
          <a:bodyPr/>
          <a:lstStyle/>
          <a:p>
            <a:pPr lvl="0"/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231F20"/>
                </a:solidFill>
              </a:rPr>
              <a:t>Asurion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>
                <a:solidFill>
                  <a:srgbClr val="231F20"/>
                </a:solidFill>
              </a:rPr>
              <a:pPr/>
              <a:t>‹#›</a:t>
            </a:fld>
            <a:endParaRPr>
              <a:solidFill>
                <a:srgbClr val="231F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1445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4C8F12B-D471-4524-A21D-E2E0C4A3A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203B0C-11E9-4FDC-A004-C78D9EB13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23495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17775"/>
            <a:ext cx="11191875" cy="3373438"/>
          </a:xfrm>
        </p:spPr>
        <p:txBody>
          <a:bodyPr/>
          <a:lstStyle/>
          <a:p>
            <a:pPr lvl="0"/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B1C1BA4-C831-4BAE-8902-D8B44C11CD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surion_Internal_Use_Only</a:t>
            </a:r>
            <a:endParaRPr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1BD78D5-7CB0-4BF0-A1E0-CDD8450211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50075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598678-86C0-48BA-A39A-FF8C08834E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1E9215-17E8-49B1-A387-1E2239FBC9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92847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00063" y="2517775"/>
            <a:ext cx="5324400" cy="3373438"/>
          </a:xfrm>
        </p:spPr>
        <p:txBody>
          <a:bodyPr/>
          <a:lstStyle/>
          <a:p>
            <a:pPr lvl="0"/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6367537" y="2517775"/>
            <a:ext cx="5324400" cy="3373438"/>
          </a:xfrm>
        </p:spPr>
        <p:txBody>
          <a:bodyPr/>
          <a:lstStyle/>
          <a:p>
            <a:pPr lvl="0"/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5FB212-C07C-47E4-B111-95662FEA043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Asurion_Internal_Use_Only</a:t>
            </a:r>
            <a:endParaRPr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F383D8-C510-4C92-8A54-DA05FA7AFF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50621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with iPh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monitor&#10;&#10;Description automatically generated">
            <a:extLst>
              <a:ext uri="{FF2B5EF4-FFF2-40B4-BE49-F238E27FC236}">
                <a16:creationId xmlns:a16="http://schemas.microsoft.com/office/drawing/2014/main" id="{7128FF66-3EA6-42D2-A583-39E18B57E9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914" y="1095375"/>
            <a:ext cx="2962122" cy="4536000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00064" y="5288239"/>
            <a:ext cx="3600000" cy="783091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3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314826" y="5288239"/>
            <a:ext cx="3600000" cy="783091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1ECDB9F2-27F4-42DB-89BF-A79294975B4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29588" y="5288239"/>
            <a:ext cx="3600000" cy="783091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5179A366-3852-4680-B35F-C5CAF0ED315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65109" y="1810291"/>
            <a:ext cx="1452882" cy="3088800"/>
          </a:xfrm>
          <a:custGeom>
            <a:avLst/>
            <a:gdLst>
              <a:gd name="connsiteX0" fmla="*/ 202870 w 1452882"/>
              <a:gd name="connsiteY0" fmla="*/ 0 h 3088800"/>
              <a:gd name="connsiteX1" fmla="*/ 307352 w 1452882"/>
              <a:gd name="connsiteY1" fmla="*/ 0 h 3088800"/>
              <a:gd name="connsiteX2" fmla="*/ 321573 w 1452882"/>
              <a:gd name="connsiteY2" fmla="*/ 16508 h 3088800"/>
              <a:gd name="connsiteX3" fmla="*/ 363366 w 1452882"/>
              <a:gd name="connsiteY3" fmla="*/ 98181 h 3088800"/>
              <a:gd name="connsiteX4" fmla="*/ 416768 w 1452882"/>
              <a:gd name="connsiteY4" fmla="*/ 106580 h 3088800"/>
              <a:gd name="connsiteX5" fmla="*/ 1056431 w 1452882"/>
              <a:gd name="connsiteY5" fmla="*/ 106580 h 3088800"/>
              <a:gd name="connsiteX6" fmla="*/ 1095902 w 1452882"/>
              <a:gd name="connsiteY6" fmla="*/ 87755 h 3088800"/>
              <a:gd name="connsiteX7" fmla="*/ 1130439 w 1452882"/>
              <a:gd name="connsiteY7" fmla="*/ 9847 h 3088800"/>
              <a:gd name="connsiteX8" fmla="*/ 1147562 w 1452882"/>
              <a:gd name="connsiteY8" fmla="*/ 579 h 3088800"/>
              <a:gd name="connsiteX9" fmla="*/ 1262202 w 1452882"/>
              <a:gd name="connsiteY9" fmla="*/ 579 h 3088800"/>
              <a:gd name="connsiteX10" fmla="*/ 1389032 w 1452882"/>
              <a:gd name="connsiteY10" fmla="*/ 62558 h 3088800"/>
              <a:gd name="connsiteX11" fmla="*/ 1440112 w 1452882"/>
              <a:gd name="connsiteY11" fmla="*/ 140466 h 3088800"/>
              <a:gd name="connsiteX12" fmla="*/ 1452882 w 1452882"/>
              <a:gd name="connsiteY12" fmla="*/ 200128 h 3088800"/>
              <a:gd name="connsiteX13" fmla="*/ 1452882 w 1452882"/>
              <a:gd name="connsiteY13" fmla="*/ 2893886 h 3088800"/>
              <a:gd name="connsiteX14" fmla="*/ 1400061 w 1452882"/>
              <a:gd name="connsiteY14" fmla="*/ 3015816 h 3088800"/>
              <a:gd name="connsiteX15" fmla="*/ 1327794 w 1452882"/>
              <a:gd name="connsiteY15" fmla="*/ 3069396 h 3088800"/>
              <a:gd name="connsiteX16" fmla="*/ 1250013 w 1452882"/>
              <a:gd name="connsiteY16" fmla="*/ 3088800 h 3088800"/>
              <a:gd name="connsiteX17" fmla="*/ 195904 w 1452882"/>
              <a:gd name="connsiteY17" fmla="*/ 3088800 h 3088800"/>
              <a:gd name="connsiteX18" fmla="*/ 120445 w 1452882"/>
              <a:gd name="connsiteY18" fmla="*/ 3067368 h 3088800"/>
              <a:gd name="connsiteX19" fmla="*/ 48178 w 1452882"/>
              <a:gd name="connsiteY19" fmla="*/ 3008865 h 3088800"/>
              <a:gd name="connsiteX20" fmla="*/ 0 w 1452882"/>
              <a:gd name="connsiteY20" fmla="*/ 2877957 h 3088800"/>
              <a:gd name="connsiteX21" fmla="*/ 871 w 1452882"/>
              <a:gd name="connsiteY21" fmla="*/ 204472 h 3088800"/>
              <a:gd name="connsiteX22" fmla="*/ 17704 w 1452882"/>
              <a:gd name="connsiteY22" fmla="*/ 126854 h 3088800"/>
              <a:gd name="connsiteX23" fmla="*/ 68784 w 1452882"/>
              <a:gd name="connsiteY23" fmla="*/ 58503 h 3088800"/>
              <a:gd name="connsiteX24" fmla="*/ 202870 w 1452882"/>
              <a:gd name="connsiteY24" fmla="*/ 0 h 30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52882" h="3088800">
                <a:moveTo>
                  <a:pt x="202870" y="0"/>
                </a:moveTo>
                <a:cubicBezTo>
                  <a:pt x="307352" y="0"/>
                  <a:pt x="307352" y="0"/>
                  <a:pt x="307352" y="0"/>
                </a:cubicBezTo>
                <a:cubicBezTo>
                  <a:pt x="307352" y="0"/>
                  <a:pt x="317220" y="2896"/>
                  <a:pt x="321573" y="16508"/>
                </a:cubicBezTo>
                <a:cubicBezTo>
                  <a:pt x="325926" y="30121"/>
                  <a:pt x="339567" y="82542"/>
                  <a:pt x="363366" y="98181"/>
                </a:cubicBezTo>
                <a:cubicBezTo>
                  <a:pt x="382231" y="110345"/>
                  <a:pt x="416768" y="106580"/>
                  <a:pt x="416768" y="106580"/>
                </a:cubicBezTo>
                <a:cubicBezTo>
                  <a:pt x="1056431" y="106580"/>
                  <a:pt x="1056431" y="106580"/>
                  <a:pt x="1056431" y="106580"/>
                </a:cubicBezTo>
                <a:cubicBezTo>
                  <a:pt x="1056431" y="106580"/>
                  <a:pt x="1080229" y="107739"/>
                  <a:pt x="1095902" y="87755"/>
                </a:cubicBezTo>
                <a:cubicBezTo>
                  <a:pt x="1111574" y="68061"/>
                  <a:pt x="1130439" y="9847"/>
                  <a:pt x="1130439" y="9847"/>
                </a:cubicBezTo>
                <a:cubicBezTo>
                  <a:pt x="1130439" y="9847"/>
                  <a:pt x="1133051" y="579"/>
                  <a:pt x="1147562" y="579"/>
                </a:cubicBezTo>
                <a:cubicBezTo>
                  <a:pt x="1162364" y="579"/>
                  <a:pt x="1255237" y="579"/>
                  <a:pt x="1262202" y="579"/>
                </a:cubicBezTo>
                <a:cubicBezTo>
                  <a:pt x="1265395" y="579"/>
                  <a:pt x="1344337" y="15060"/>
                  <a:pt x="1389032" y="62558"/>
                </a:cubicBezTo>
                <a:cubicBezTo>
                  <a:pt x="1411089" y="86017"/>
                  <a:pt x="1431115" y="114400"/>
                  <a:pt x="1440112" y="140466"/>
                </a:cubicBezTo>
                <a:cubicBezTo>
                  <a:pt x="1451431" y="172324"/>
                  <a:pt x="1452882" y="200128"/>
                  <a:pt x="1452882" y="200128"/>
                </a:cubicBezTo>
                <a:cubicBezTo>
                  <a:pt x="1452882" y="2893886"/>
                  <a:pt x="1452882" y="2893886"/>
                  <a:pt x="1452882" y="2893886"/>
                </a:cubicBezTo>
                <a:cubicBezTo>
                  <a:pt x="1452882" y="2893886"/>
                  <a:pt x="1443305" y="2974690"/>
                  <a:pt x="1400061" y="3015816"/>
                </a:cubicBezTo>
                <a:cubicBezTo>
                  <a:pt x="1373360" y="3041302"/>
                  <a:pt x="1353334" y="3058100"/>
                  <a:pt x="1327794" y="3069396"/>
                </a:cubicBezTo>
                <a:cubicBezTo>
                  <a:pt x="1287742" y="3087352"/>
                  <a:pt x="1250013" y="3088800"/>
                  <a:pt x="1250013" y="3088800"/>
                </a:cubicBezTo>
                <a:cubicBezTo>
                  <a:pt x="195904" y="3088800"/>
                  <a:pt x="195904" y="3088800"/>
                  <a:pt x="195904" y="3088800"/>
                </a:cubicBezTo>
                <a:cubicBezTo>
                  <a:pt x="195904" y="3088800"/>
                  <a:pt x="157013" y="3084456"/>
                  <a:pt x="120445" y="3067368"/>
                </a:cubicBezTo>
                <a:cubicBezTo>
                  <a:pt x="85908" y="3051439"/>
                  <a:pt x="72267" y="3034641"/>
                  <a:pt x="48178" y="3008865"/>
                </a:cubicBezTo>
                <a:cubicBezTo>
                  <a:pt x="581" y="2957602"/>
                  <a:pt x="0" y="2877957"/>
                  <a:pt x="0" y="2877957"/>
                </a:cubicBezTo>
                <a:lnTo>
                  <a:pt x="871" y="204472"/>
                </a:lnTo>
                <a:cubicBezTo>
                  <a:pt x="871" y="204472"/>
                  <a:pt x="1161" y="167111"/>
                  <a:pt x="17704" y="126854"/>
                </a:cubicBezTo>
                <a:cubicBezTo>
                  <a:pt x="27572" y="102815"/>
                  <a:pt x="49049" y="78198"/>
                  <a:pt x="68784" y="58503"/>
                </a:cubicBezTo>
                <a:cubicBezTo>
                  <a:pt x="117252" y="9268"/>
                  <a:pt x="202870" y="0"/>
                  <a:pt x="202870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22F74907-9901-41D8-B02E-D5156ACAC59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CD76F14-B7C1-4783-A9BB-4763BFA8875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pic>
        <p:nvPicPr>
          <p:cNvPr id="27" name="Picture 26" descr="A picture containing monitor&#10;&#10;Description automatically generated">
            <a:extLst>
              <a:ext uri="{FF2B5EF4-FFF2-40B4-BE49-F238E27FC236}">
                <a16:creationId xmlns:a16="http://schemas.microsoft.com/office/drawing/2014/main" id="{154FF016-7F02-472C-B9A6-FD4F50DF36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3824" y="1095375"/>
            <a:ext cx="2962122" cy="4536000"/>
          </a:xfrm>
          <a:prstGeom prst="rect">
            <a:avLst/>
          </a:prstGeom>
        </p:spPr>
      </p:pic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2EEBB07D-0B9A-4E6E-8341-D43B950E589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317019" y="1810291"/>
            <a:ext cx="1452882" cy="3088800"/>
          </a:xfrm>
          <a:custGeom>
            <a:avLst/>
            <a:gdLst>
              <a:gd name="connsiteX0" fmla="*/ 202870 w 1452882"/>
              <a:gd name="connsiteY0" fmla="*/ 0 h 3088800"/>
              <a:gd name="connsiteX1" fmla="*/ 307352 w 1452882"/>
              <a:gd name="connsiteY1" fmla="*/ 0 h 3088800"/>
              <a:gd name="connsiteX2" fmla="*/ 321573 w 1452882"/>
              <a:gd name="connsiteY2" fmla="*/ 16508 h 3088800"/>
              <a:gd name="connsiteX3" fmla="*/ 363366 w 1452882"/>
              <a:gd name="connsiteY3" fmla="*/ 98181 h 3088800"/>
              <a:gd name="connsiteX4" fmla="*/ 416768 w 1452882"/>
              <a:gd name="connsiteY4" fmla="*/ 106580 h 3088800"/>
              <a:gd name="connsiteX5" fmla="*/ 1056431 w 1452882"/>
              <a:gd name="connsiteY5" fmla="*/ 106580 h 3088800"/>
              <a:gd name="connsiteX6" fmla="*/ 1095902 w 1452882"/>
              <a:gd name="connsiteY6" fmla="*/ 87755 h 3088800"/>
              <a:gd name="connsiteX7" fmla="*/ 1130439 w 1452882"/>
              <a:gd name="connsiteY7" fmla="*/ 9847 h 3088800"/>
              <a:gd name="connsiteX8" fmla="*/ 1147562 w 1452882"/>
              <a:gd name="connsiteY8" fmla="*/ 579 h 3088800"/>
              <a:gd name="connsiteX9" fmla="*/ 1262202 w 1452882"/>
              <a:gd name="connsiteY9" fmla="*/ 579 h 3088800"/>
              <a:gd name="connsiteX10" fmla="*/ 1389032 w 1452882"/>
              <a:gd name="connsiteY10" fmla="*/ 62558 h 3088800"/>
              <a:gd name="connsiteX11" fmla="*/ 1440112 w 1452882"/>
              <a:gd name="connsiteY11" fmla="*/ 140466 h 3088800"/>
              <a:gd name="connsiteX12" fmla="*/ 1452882 w 1452882"/>
              <a:gd name="connsiteY12" fmla="*/ 200128 h 3088800"/>
              <a:gd name="connsiteX13" fmla="*/ 1452882 w 1452882"/>
              <a:gd name="connsiteY13" fmla="*/ 2893886 h 3088800"/>
              <a:gd name="connsiteX14" fmla="*/ 1400061 w 1452882"/>
              <a:gd name="connsiteY14" fmla="*/ 3015816 h 3088800"/>
              <a:gd name="connsiteX15" fmla="*/ 1327794 w 1452882"/>
              <a:gd name="connsiteY15" fmla="*/ 3069396 h 3088800"/>
              <a:gd name="connsiteX16" fmla="*/ 1250013 w 1452882"/>
              <a:gd name="connsiteY16" fmla="*/ 3088800 h 3088800"/>
              <a:gd name="connsiteX17" fmla="*/ 195904 w 1452882"/>
              <a:gd name="connsiteY17" fmla="*/ 3088800 h 3088800"/>
              <a:gd name="connsiteX18" fmla="*/ 120445 w 1452882"/>
              <a:gd name="connsiteY18" fmla="*/ 3067368 h 3088800"/>
              <a:gd name="connsiteX19" fmla="*/ 48178 w 1452882"/>
              <a:gd name="connsiteY19" fmla="*/ 3008865 h 3088800"/>
              <a:gd name="connsiteX20" fmla="*/ 0 w 1452882"/>
              <a:gd name="connsiteY20" fmla="*/ 2877957 h 3088800"/>
              <a:gd name="connsiteX21" fmla="*/ 871 w 1452882"/>
              <a:gd name="connsiteY21" fmla="*/ 204472 h 3088800"/>
              <a:gd name="connsiteX22" fmla="*/ 17704 w 1452882"/>
              <a:gd name="connsiteY22" fmla="*/ 126854 h 3088800"/>
              <a:gd name="connsiteX23" fmla="*/ 68784 w 1452882"/>
              <a:gd name="connsiteY23" fmla="*/ 58503 h 3088800"/>
              <a:gd name="connsiteX24" fmla="*/ 202870 w 1452882"/>
              <a:gd name="connsiteY24" fmla="*/ 0 h 30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52882" h="3088800">
                <a:moveTo>
                  <a:pt x="202870" y="0"/>
                </a:moveTo>
                <a:cubicBezTo>
                  <a:pt x="307352" y="0"/>
                  <a:pt x="307352" y="0"/>
                  <a:pt x="307352" y="0"/>
                </a:cubicBezTo>
                <a:cubicBezTo>
                  <a:pt x="307352" y="0"/>
                  <a:pt x="317220" y="2896"/>
                  <a:pt x="321573" y="16508"/>
                </a:cubicBezTo>
                <a:cubicBezTo>
                  <a:pt x="325926" y="30121"/>
                  <a:pt x="339567" y="82542"/>
                  <a:pt x="363366" y="98181"/>
                </a:cubicBezTo>
                <a:cubicBezTo>
                  <a:pt x="382231" y="110345"/>
                  <a:pt x="416768" y="106580"/>
                  <a:pt x="416768" y="106580"/>
                </a:cubicBezTo>
                <a:cubicBezTo>
                  <a:pt x="1056431" y="106580"/>
                  <a:pt x="1056431" y="106580"/>
                  <a:pt x="1056431" y="106580"/>
                </a:cubicBezTo>
                <a:cubicBezTo>
                  <a:pt x="1056431" y="106580"/>
                  <a:pt x="1080229" y="107739"/>
                  <a:pt x="1095902" y="87755"/>
                </a:cubicBezTo>
                <a:cubicBezTo>
                  <a:pt x="1111574" y="68061"/>
                  <a:pt x="1130439" y="9847"/>
                  <a:pt x="1130439" y="9847"/>
                </a:cubicBezTo>
                <a:cubicBezTo>
                  <a:pt x="1130439" y="9847"/>
                  <a:pt x="1133051" y="579"/>
                  <a:pt x="1147562" y="579"/>
                </a:cubicBezTo>
                <a:cubicBezTo>
                  <a:pt x="1162364" y="579"/>
                  <a:pt x="1255237" y="579"/>
                  <a:pt x="1262202" y="579"/>
                </a:cubicBezTo>
                <a:cubicBezTo>
                  <a:pt x="1265395" y="579"/>
                  <a:pt x="1344337" y="15060"/>
                  <a:pt x="1389032" y="62558"/>
                </a:cubicBezTo>
                <a:cubicBezTo>
                  <a:pt x="1411089" y="86017"/>
                  <a:pt x="1431115" y="114400"/>
                  <a:pt x="1440112" y="140466"/>
                </a:cubicBezTo>
                <a:cubicBezTo>
                  <a:pt x="1451431" y="172324"/>
                  <a:pt x="1452882" y="200128"/>
                  <a:pt x="1452882" y="200128"/>
                </a:cubicBezTo>
                <a:cubicBezTo>
                  <a:pt x="1452882" y="2893886"/>
                  <a:pt x="1452882" y="2893886"/>
                  <a:pt x="1452882" y="2893886"/>
                </a:cubicBezTo>
                <a:cubicBezTo>
                  <a:pt x="1452882" y="2893886"/>
                  <a:pt x="1443305" y="2974690"/>
                  <a:pt x="1400061" y="3015816"/>
                </a:cubicBezTo>
                <a:cubicBezTo>
                  <a:pt x="1373360" y="3041302"/>
                  <a:pt x="1353334" y="3058100"/>
                  <a:pt x="1327794" y="3069396"/>
                </a:cubicBezTo>
                <a:cubicBezTo>
                  <a:pt x="1287742" y="3087352"/>
                  <a:pt x="1250013" y="3088800"/>
                  <a:pt x="1250013" y="3088800"/>
                </a:cubicBezTo>
                <a:cubicBezTo>
                  <a:pt x="195904" y="3088800"/>
                  <a:pt x="195904" y="3088800"/>
                  <a:pt x="195904" y="3088800"/>
                </a:cubicBezTo>
                <a:cubicBezTo>
                  <a:pt x="195904" y="3088800"/>
                  <a:pt x="157013" y="3084456"/>
                  <a:pt x="120445" y="3067368"/>
                </a:cubicBezTo>
                <a:cubicBezTo>
                  <a:pt x="85908" y="3051439"/>
                  <a:pt x="72267" y="3034641"/>
                  <a:pt x="48178" y="3008865"/>
                </a:cubicBezTo>
                <a:cubicBezTo>
                  <a:pt x="581" y="2957602"/>
                  <a:pt x="0" y="2877957"/>
                  <a:pt x="0" y="2877957"/>
                </a:cubicBezTo>
                <a:lnTo>
                  <a:pt x="871" y="204472"/>
                </a:lnTo>
                <a:cubicBezTo>
                  <a:pt x="871" y="204472"/>
                  <a:pt x="1161" y="167111"/>
                  <a:pt x="17704" y="126854"/>
                </a:cubicBezTo>
                <a:cubicBezTo>
                  <a:pt x="27572" y="102815"/>
                  <a:pt x="49049" y="78198"/>
                  <a:pt x="68784" y="58503"/>
                </a:cubicBezTo>
                <a:cubicBezTo>
                  <a:pt x="117252" y="9268"/>
                  <a:pt x="202870" y="0"/>
                  <a:pt x="202870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pic>
        <p:nvPicPr>
          <p:cNvPr id="29" name="Picture 28" descr="A picture containing monitor&#10;&#10;Description automatically generated">
            <a:extLst>
              <a:ext uri="{FF2B5EF4-FFF2-40B4-BE49-F238E27FC236}">
                <a16:creationId xmlns:a16="http://schemas.microsoft.com/office/drawing/2014/main" id="{A70AE4C1-4526-4D22-9301-A6F93E38D7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164" y="1095375"/>
            <a:ext cx="2962122" cy="4536000"/>
          </a:xfrm>
          <a:prstGeom prst="rect">
            <a:avLst/>
          </a:prstGeom>
        </p:spPr>
      </p:pic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2681D62F-4793-4C2E-8783-7DAF67F9AF3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80359" y="1810291"/>
            <a:ext cx="1452882" cy="3088800"/>
          </a:xfrm>
          <a:custGeom>
            <a:avLst/>
            <a:gdLst>
              <a:gd name="connsiteX0" fmla="*/ 202870 w 1452882"/>
              <a:gd name="connsiteY0" fmla="*/ 0 h 3088800"/>
              <a:gd name="connsiteX1" fmla="*/ 307352 w 1452882"/>
              <a:gd name="connsiteY1" fmla="*/ 0 h 3088800"/>
              <a:gd name="connsiteX2" fmla="*/ 321573 w 1452882"/>
              <a:gd name="connsiteY2" fmla="*/ 16508 h 3088800"/>
              <a:gd name="connsiteX3" fmla="*/ 363366 w 1452882"/>
              <a:gd name="connsiteY3" fmla="*/ 98181 h 3088800"/>
              <a:gd name="connsiteX4" fmla="*/ 416768 w 1452882"/>
              <a:gd name="connsiteY4" fmla="*/ 106580 h 3088800"/>
              <a:gd name="connsiteX5" fmla="*/ 1056431 w 1452882"/>
              <a:gd name="connsiteY5" fmla="*/ 106580 h 3088800"/>
              <a:gd name="connsiteX6" fmla="*/ 1095902 w 1452882"/>
              <a:gd name="connsiteY6" fmla="*/ 87755 h 3088800"/>
              <a:gd name="connsiteX7" fmla="*/ 1130439 w 1452882"/>
              <a:gd name="connsiteY7" fmla="*/ 9847 h 3088800"/>
              <a:gd name="connsiteX8" fmla="*/ 1147562 w 1452882"/>
              <a:gd name="connsiteY8" fmla="*/ 579 h 3088800"/>
              <a:gd name="connsiteX9" fmla="*/ 1262202 w 1452882"/>
              <a:gd name="connsiteY9" fmla="*/ 579 h 3088800"/>
              <a:gd name="connsiteX10" fmla="*/ 1389032 w 1452882"/>
              <a:gd name="connsiteY10" fmla="*/ 62558 h 3088800"/>
              <a:gd name="connsiteX11" fmla="*/ 1440112 w 1452882"/>
              <a:gd name="connsiteY11" fmla="*/ 140466 h 3088800"/>
              <a:gd name="connsiteX12" fmla="*/ 1452882 w 1452882"/>
              <a:gd name="connsiteY12" fmla="*/ 200128 h 3088800"/>
              <a:gd name="connsiteX13" fmla="*/ 1452882 w 1452882"/>
              <a:gd name="connsiteY13" fmla="*/ 2893886 h 3088800"/>
              <a:gd name="connsiteX14" fmla="*/ 1400061 w 1452882"/>
              <a:gd name="connsiteY14" fmla="*/ 3015816 h 3088800"/>
              <a:gd name="connsiteX15" fmla="*/ 1327794 w 1452882"/>
              <a:gd name="connsiteY15" fmla="*/ 3069396 h 3088800"/>
              <a:gd name="connsiteX16" fmla="*/ 1250013 w 1452882"/>
              <a:gd name="connsiteY16" fmla="*/ 3088800 h 3088800"/>
              <a:gd name="connsiteX17" fmla="*/ 195904 w 1452882"/>
              <a:gd name="connsiteY17" fmla="*/ 3088800 h 3088800"/>
              <a:gd name="connsiteX18" fmla="*/ 120445 w 1452882"/>
              <a:gd name="connsiteY18" fmla="*/ 3067368 h 3088800"/>
              <a:gd name="connsiteX19" fmla="*/ 48178 w 1452882"/>
              <a:gd name="connsiteY19" fmla="*/ 3008865 h 3088800"/>
              <a:gd name="connsiteX20" fmla="*/ 0 w 1452882"/>
              <a:gd name="connsiteY20" fmla="*/ 2877957 h 3088800"/>
              <a:gd name="connsiteX21" fmla="*/ 871 w 1452882"/>
              <a:gd name="connsiteY21" fmla="*/ 204472 h 3088800"/>
              <a:gd name="connsiteX22" fmla="*/ 17704 w 1452882"/>
              <a:gd name="connsiteY22" fmla="*/ 126854 h 3088800"/>
              <a:gd name="connsiteX23" fmla="*/ 68784 w 1452882"/>
              <a:gd name="connsiteY23" fmla="*/ 58503 h 3088800"/>
              <a:gd name="connsiteX24" fmla="*/ 202870 w 1452882"/>
              <a:gd name="connsiteY24" fmla="*/ 0 h 30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52882" h="3088800">
                <a:moveTo>
                  <a:pt x="202870" y="0"/>
                </a:moveTo>
                <a:cubicBezTo>
                  <a:pt x="307352" y="0"/>
                  <a:pt x="307352" y="0"/>
                  <a:pt x="307352" y="0"/>
                </a:cubicBezTo>
                <a:cubicBezTo>
                  <a:pt x="307352" y="0"/>
                  <a:pt x="317220" y="2896"/>
                  <a:pt x="321573" y="16508"/>
                </a:cubicBezTo>
                <a:cubicBezTo>
                  <a:pt x="325926" y="30121"/>
                  <a:pt x="339567" y="82542"/>
                  <a:pt x="363366" y="98181"/>
                </a:cubicBezTo>
                <a:cubicBezTo>
                  <a:pt x="382231" y="110345"/>
                  <a:pt x="416768" y="106580"/>
                  <a:pt x="416768" y="106580"/>
                </a:cubicBezTo>
                <a:cubicBezTo>
                  <a:pt x="1056431" y="106580"/>
                  <a:pt x="1056431" y="106580"/>
                  <a:pt x="1056431" y="106580"/>
                </a:cubicBezTo>
                <a:cubicBezTo>
                  <a:pt x="1056431" y="106580"/>
                  <a:pt x="1080229" y="107739"/>
                  <a:pt x="1095902" y="87755"/>
                </a:cubicBezTo>
                <a:cubicBezTo>
                  <a:pt x="1111574" y="68061"/>
                  <a:pt x="1130439" y="9847"/>
                  <a:pt x="1130439" y="9847"/>
                </a:cubicBezTo>
                <a:cubicBezTo>
                  <a:pt x="1130439" y="9847"/>
                  <a:pt x="1133051" y="579"/>
                  <a:pt x="1147562" y="579"/>
                </a:cubicBezTo>
                <a:cubicBezTo>
                  <a:pt x="1162364" y="579"/>
                  <a:pt x="1255237" y="579"/>
                  <a:pt x="1262202" y="579"/>
                </a:cubicBezTo>
                <a:cubicBezTo>
                  <a:pt x="1265395" y="579"/>
                  <a:pt x="1344337" y="15060"/>
                  <a:pt x="1389032" y="62558"/>
                </a:cubicBezTo>
                <a:cubicBezTo>
                  <a:pt x="1411089" y="86017"/>
                  <a:pt x="1431115" y="114400"/>
                  <a:pt x="1440112" y="140466"/>
                </a:cubicBezTo>
                <a:cubicBezTo>
                  <a:pt x="1451431" y="172324"/>
                  <a:pt x="1452882" y="200128"/>
                  <a:pt x="1452882" y="200128"/>
                </a:cubicBezTo>
                <a:cubicBezTo>
                  <a:pt x="1452882" y="2893886"/>
                  <a:pt x="1452882" y="2893886"/>
                  <a:pt x="1452882" y="2893886"/>
                </a:cubicBezTo>
                <a:cubicBezTo>
                  <a:pt x="1452882" y="2893886"/>
                  <a:pt x="1443305" y="2974690"/>
                  <a:pt x="1400061" y="3015816"/>
                </a:cubicBezTo>
                <a:cubicBezTo>
                  <a:pt x="1373360" y="3041302"/>
                  <a:pt x="1353334" y="3058100"/>
                  <a:pt x="1327794" y="3069396"/>
                </a:cubicBezTo>
                <a:cubicBezTo>
                  <a:pt x="1287742" y="3087352"/>
                  <a:pt x="1250013" y="3088800"/>
                  <a:pt x="1250013" y="3088800"/>
                </a:cubicBezTo>
                <a:cubicBezTo>
                  <a:pt x="195904" y="3088800"/>
                  <a:pt x="195904" y="3088800"/>
                  <a:pt x="195904" y="3088800"/>
                </a:cubicBezTo>
                <a:cubicBezTo>
                  <a:pt x="195904" y="3088800"/>
                  <a:pt x="157013" y="3084456"/>
                  <a:pt x="120445" y="3067368"/>
                </a:cubicBezTo>
                <a:cubicBezTo>
                  <a:pt x="85908" y="3051439"/>
                  <a:pt x="72267" y="3034641"/>
                  <a:pt x="48178" y="3008865"/>
                </a:cubicBezTo>
                <a:cubicBezTo>
                  <a:pt x="581" y="2957602"/>
                  <a:pt x="0" y="2877957"/>
                  <a:pt x="0" y="2877957"/>
                </a:cubicBezTo>
                <a:lnTo>
                  <a:pt x="871" y="204472"/>
                </a:lnTo>
                <a:cubicBezTo>
                  <a:pt x="871" y="204472"/>
                  <a:pt x="1161" y="167111"/>
                  <a:pt x="17704" y="126854"/>
                </a:cubicBezTo>
                <a:cubicBezTo>
                  <a:pt x="27572" y="102815"/>
                  <a:pt x="49049" y="78198"/>
                  <a:pt x="68784" y="58503"/>
                </a:cubicBezTo>
                <a:cubicBezTo>
                  <a:pt x="117252" y="9268"/>
                  <a:pt x="202870" y="0"/>
                  <a:pt x="202870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251001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D744DE2C-A424-4827-A247-97648814534C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4F442-ECB4-4EA4-AE95-53D8E965A64C}"/>
              </a:ext>
            </a:extLst>
          </p:cNvPr>
          <p:cNvSpPr/>
          <p:nvPr/>
        </p:nvSpPr>
        <p:spPr>
          <a:xfrm>
            <a:off x="6096000" y="5598000"/>
            <a:ext cx="6096000" cy="126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9" y="140677"/>
            <a:ext cx="5454650" cy="2453661"/>
          </a:xfrm>
        </p:spPr>
        <p:txBody>
          <a:bodyPr anchor="b"/>
          <a:lstStyle>
            <a:lvl1pPr algn="l">
              <a:lnSpc>
                <a:spcPct val="90000"/>
              </a:lnSpc>
              <a:defRPr sz="5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3022209"/>
            <a:ext cx="4086542" cy="2010506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15" name="asurion logo">
            <a:extLst>
              <a:ext uri="{FF2B5EF4-FFF2-40B4-BE49-F238E27FC236}">
                <a16:creationId xmlns:a16="http://schemas.microsoft.com/office/drawing/2014/main" id="{742C3EE8-5E66-4064-AD77-262ED2AF10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0" y="5995713"/>
            <a:ext cx="1527969" cy="354615"/>
            <a:chOff x="316" y="3952"/>
            <a:chExt cx="586" cy="136"/>
          </a:xfrm>
          <a:solidFill>
            <a:schemeClr val="tx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9EF3FF97-F9E4-4229-93B3-D336E320D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9D763D80-7D31-4C23-92B5-7AA5C7093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D0697A47-C99B-4053-ADFB-D711F85AE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B1BCB078-E3E2-4D42-8199-4874325579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961A3D60-6C30-4644-91DF-BEEC5109B1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F348E325-407C-441C-B197-E60FC5A68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9F368039-5BAA-412B-A0CF-A7E83F9606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975679-7E40-4963-9C83-A613C95AA4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99238" y="6012655"/>
            <a:ext cx="3435350" cy="531812"/>
          </a:xfrm>
        </p:spPr>
        <p:txBody>
          <a:bodyPr anchor="ctr" anchorCtr="0"/>
          <a:lstStyle>
            <a:lvl1pPr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Presenter Name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7D42A3C6-0F61-41F7-B4CB-28E14C8D71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60000" y="6012655"/>
            <a:ext cx="1534575" cy="531812"/>
          </a:xfrm>
        </p:spPr>
        <p:txBody>
          <a:bodyPr anchor="ctr" anchorCtr="0"/>
          <a:lstStyle>
            <a:lvl1pPr algn="r"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January 01, 2020</a:t>
            </a:r>
          </a:p>
        </p:txBody>
      </p:sp>
    </p:spTree>
    <p:extLst>
      <p:ext uri="{BB962C8B-B14F-4D97-AF65-F5344CB8AC3E}">
        <p14:creationId xmlns:p14="http://schemas.microsoft.com/office/powerpoint/2010/main" val="41739207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 with iPh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00064" y="5288239"/>
            <a:ext cx="3600000" cy="783091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3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314826" y="5288239"/>
            <a:ext cx="3600000" cy="783091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1ECDB9F2-27F4-42DB-89BF-A79294975B4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29588" y="5288239"/>
            <a:ext cx="3600000" cy="783091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5179A366-3852-4680-B35F-C5CAF0ED315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65109" y="1810291"/>
            <a:ext cx="1452882" cy="3088800"/>
          </a:xfrm>
          <a:custGeom>
            <a:avLst/>
            <a:gdLst>
              <a:gd name="connsiteX0" fmla="*/ 202870 w 1452882"/>
              <a:gd name="connsiteY0" fmla="*/ 0 h 3088800"/>
              <a:gd name="connsiteX1" fmla="*/ 307352 w 1452882"/>
              <a:gd name="connsiteY1" fmla="*/ 0 h 3088800"/>
              <a:gd name="connsiteX2" fmla="*/ 321573 w 1452882"/>
              <a:gd name="connsiteY2" fmla="*/ 16508 h 3088800"/>
              <a:gd name="connsiteX3" fmla="*/ 363366 w 1452882"/>
              <a:gd name="connsiteY3" fmla="*/ 98181 h 3088800"/>
              <a:gd name="connsiteX4" fmla="*/ 416768 w 1452882"/>
              <a:gd name="connsiteY4" fmla="*/ 106580 h 3088800"/>
              <a:gd name="connsiteX5" fmla="*/ 1056431 w 1452882"/>
              <a:gd name="connsiteY5" fmla="*/ 106580 h 3088800"/>
              <a:gd name="connsiteX6" fmla="*/ 1095902 w 1452882"/>
              <a:gd name="connsiteY6" fmla="*/ 87755 h 3088800"/>
              <a:gd name="connsiteX7" fmla="*/ 1130439 w 1452882"/>
              <a:gd name="connsiteY7" fmla="*/ 9847 h 3088800"/>
              <a:gd name="connsiteX8" fmla="*/ 1147562 w 1452882"/>
              <a:gd name="connsiteY8" fmla="*/ 579 h 3088800"/>
              <a:gd name="connsiteX9" fmla="*/ 1262202 w 1452882"/>
              <a:gd name="connsiteY9" fmla="*/ 579 h 3088800"/>
              <a:gd name="connsiteX10" fmla="*/ 1389032 w 1452882"/>
              <a:gd name="connsiteY10" fmla="*/ 62558 h 3088800"/>
              <a:gd name="connsiteX11" fmla="*/ 1440112 w 1452882"/>
              <a:gd name="connsiteY11" fmla="*/ 140466 h 3088800"/>
              <a:gd name="connsiteX12" fmla="*/ 1452882 w 1452882"/>
              <a:gd name="connsiteY12" fmla="*/ 200128 h 3088800"/>
              <a:gd name="connsiteX13" fmla="*/ 1452882 w 1452882"/>
              <a:gd name="connsiteY13" fmla="*/ 2893886 h 3088800"/>
              <a:gd name="connsiteX14" fmla="*/ 1400061 w 1452882"/>
              <a:gd name="connsiteY14" fmla="*/ 3015816 h 3088800"/>
              <a:gd name="connsiteX15" fmla="*/ 1327794 w 1452882"/>
              <a:gd name="connsiteY15" fmla="*/ 3069396 h 3088800"/>
              <a:gd name="connsiteX16" fmla="*/ 1250013 w 1452882"/>
              <a:gd name="connsiteY16" fmla="*/ 3088800 h 3088800"/>
              <a:gd name="connsiteX17" fmla="*/ 195904 w 1452882"/>
              <a:gd name="connsiteY17" fmla="*/ 3088800 h 3088800"/>
              <a:gd name="connsiteX18" fmla="*/ 120445 w 1452882"/>
              <a:gd name="connsiteY18" fmla="*/ 3067368 h 3088800"/>
              <a:gd name="connsiteX19" fmla="*/ 48178 w 1452882"/>
              <a:gd name="connsiteY19" fmla="*/ 3008865 h 3088800"/>
              <a:gd name="connsiteX20" fmla="*/ 0 w 1452882"/>
              <a:gd name="connsiteY20" fmla="*/ 2877957 h 3088800"/>
              <a:gd name="connsiteX21" fmla="*/ 871 w 1452882"/>
              <a:gd name="connsiteY21" fmla="*/ 204472 h 3088800"/>
              <a:gd name="connsiteX22" fmla="*/ 17704 w 1452882"/>
              <a:gd name="connsiteY22" fmla="*/ 126854 h 3088800"/>
              <a:gd name="connsiteX23" fmla="*/ 68784 w 1452882"/>
              <a:gd name="connsiteY23" fmla="*/ 58503 h 3088800"/>
              <a:gd name="connsiteX24" fmla="*/ 202870 w 1452882"/>
              <a:gd name="connsiteY24" fmla="*/ 0 h 30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52882" h="3088800">
                <a:moveTo>
                  <a:pt x="202870" y="0"/>
                </a:moveTo>
                <a:cubicBezTo>
                  <a:pt x="307352" y="0"/>
                  <a:pt x="307352" y="0"/>
                  <a:pt x="307352" y="0"/>
                </a:cubicBezTo>
                <a:cubicBezTo>
                  <a:pt x="307352" y="0"/>
                  <a:pt x="317220" y="2896"/>
                  <a:pt x="321573" y="16508"/>
                </a:cubicBezTo>
                <a:cubicBezTo>
                  <a:pt x="325926" y="30121"/>
                  <a:pt x="339567" y="82542"/>
                  <a:pt x="363366" y="98181"/>
                </a:cubicBezTo>
                <a:cubicBezTo>
                  <a:pt x="382231" y="110345"/>
                  <a:pt x="416768" y="106580"/>
                  <a:pt x="416768" y="106580"/>
                </a:cubicBezTo>
                <a:cubicBezTo>
                  <a:pt x="1056431" y="106580"/>
                  <a:pt x="1056431" y="106580"/>
                  <a:pt x="1056431" y="106580"/>
                </a:cubicBezTo>
                <a:cubicBezTo>
                  <a:pt x="1056431" y="106580"/>
                  <a:pt x="1080229" y="107739"/>
                  <a:pt x="1095902" y="87755"/>
                </a:cubicBezTo>
                <a:cubicBezTo>
                  <a:pt x="1111574" y="68061"/>
                  <a:pt x="1130439" y="9847"/>
                  <a:pt x="1130439" y="9847"/>
                </a:cubicBezTo>
                <a:cubicBezTo>
                  <a:pt x="1130439" y="9847"/>
                  <a:pt x="1133051" y="579"/>
                  <a:pt x="1147562" y="579"/>
                </a:cubicBezTo>
                <a:cubicBezTo>
                  <a:pt x="1162364" y="579"/>
                  <a:pt x="1255237" y="579"/>
                  <a:pt x="1262202" y="579"/>
                </a:cubicBezTo>
                <a:cubicBezTo>
                  <a:pt x="1265395" y="579"/>
                  <a:pt x="1344337" y="15060"/>
                  <a:pt x="1389032" y="62558"/>
                </a:cubicBezTo>
                <a:cubicBezTo>
                  <a:pt x="1411089" y="86017"/>
                  <a:pt x="1431115" y="114400"/>
                  <a:pt x="1440112" y="140466"/>
                </a:cubicBezTo>
                <a:cubicBezTo>
                  <a:pt x="1451431" y="172324"/>
                  <a:pt x="1452882" y="200128"/>
                  <a:pt x="1452882" y="200128"/>
                </a:cubicBezTo>
                <a:cubicBezTo>
                  <a:pt x="1452882" y="2893886"/>
                  <a:pt x="1452882" y="2893886"/>
                  <a:pt x="1452882" y="2893886"/>
                </a:cubicBezTo>
                <a:cubicBezTo>
                  <a:pt x="1452882" y="2893886"/>
                  <a:pt x="1443305" y="2974690"/>
                  <a:pt x="1400061" y="3015816"/>
                </a:cubicBezTo>
                <a:cubicBezTo>
                  <a:pt x="1373360" y="3041302"/>
                  <a:pt x="1353334" y="3058100"/>
                  <a:pt x="1327794" y="3069396"/>
                </a:cubicBezTo>
                <a:cubicBezTo>
                  <a:pt x="1287742" y="3087352"/>
                  <a:pt x="1250013" y="3088800"/>
                  <a:pt x="1250013" y="3088800"/>
                </a:cubicBezTo>
                <a:cubicBezTo>
                  <a:pt x="195904" y="3088800"/>
                  <a:pt x="195904" y="3088800"/>
                  <a:pt x="195904" y="3088800"/>
                </a:cubicBezTo>
                <a:cubicBezTo>
                  <a:pt x="195904" y="3088800"/>
                  <a:pt x="157013" y="3084456"/>
                  <a:pt x="120445" y="3067368"/>
                </a:cubicBezTo>
                <a:cubicBezTo>
                  <a:pt x="85908" y="3051439"/>
                  <a:pt x="72267" y="3034641"/>
                  <a:pt x="48178" y="3008865"/>
                </a:cubicBezTo>
                <a:cubicBezTo>
                  <a:pt x="581" y="2957602"/>
                  <a:pt x="0" y="2877957"/>
                  <a:pt x="0" y="2877957"/>
                </a:cubicBezTo>
                <a:lnTo>
                  <a:pt x="871" y="204472"/>
                </a:lnTo>
                <a:cubicBezTo>
                  <a:pt x="871" y="204472"/>
                  <a:pt x="1161" y="167111"/>
                  <a:pt x="17704" y="126854"/>
                </a:cubicBezTo>
                <a:cubicBezTo>
                  <a:pt x="27572" y="102815"/>
                  <a:pt x="49049" y="78198"/>
                  <a:pt x="68784" y="58503"/>
                </a:cubicBezTo>
                <a:cubicBezTo>
                  <a:pt x="117252" y="9268"/>
                  <a:pt x="202870" y="0"/>
                  <a:pt x="202870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22F74907-9901-41D8-B02E-D5156ACAC59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CD76F14-B7C1-4783-A9BB-4763BFA8875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2EEBB07D-0B9A-4E6E-8341-D43B950E589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317019" y="1810291"/>
            <a:ext cx="1452882" cy="3088800"/>
          </a:xfrm>
          <a:custGeom>
            <a:avLst/>
            <a:gdLst>
              <a:gd name="connsiteX0" fmla="*/ 202870 w 1452882"/>
              <a:gd name="connsiteY0" fmla="*/ 0 h 3088800"/>
              <a:gd name="connsiteX1" fmla="*/ 307352 w 1452882"/>
              <a:gd name="connsiteY1" fmla="*/ 0 h 3088800"/>
              <a:gd name="connsiteX2" fmla="*/ 321573 w 1452882"/>
              <a:gd name="connsiteY2" fmla="*/ 16508 h 3088800"/>
              <a:gd name="connsiteX3" fmla="*/ 363366 w 1452882"/>
              <a:gd name="connsiteY3" fmla="*/ 98181 h 3088800"/>
              <a:gd name="connsiteX4" fmla="*/ 416768 w 1452882"/>
              <a:gd name="connsiteY4" fmla="*/ 106580 h 3088800"/>
              <a:gd name="connsiteX5" fmla="*/ 1056431 w 1452882"/>
              <a:gd name="connsiteY5" fmla="*/ 106580 h 3088800"/>
              <a:gd name="connsiteX6" fmla="*/ 1095902 w 1452882"/>
              <a:gd name="connsiteY6" fmla="*/ 87755 h 3088800"/>
              <a:gd name="connsiteX7" fmla="*/ 1130439 w 1452882"/>
              <a:gd name="connsiteY7" fmla="*/ 9847 h 3088800"/>
              <a:gd name="connsiteX8" fmla="*/ 1147562 w 1452882"/>
              <a:gd name="connsiteY8" fmla="*/ 579 h 3088800"/>
              <a:gd name="connsiteX9" fmla="*/ 1262202 w 1452882"/>
              <a:gd name="connsiteY9" fmla="*/ 579 h 3088800"/>
              <a:gd name="connsiteX10" fmla="*/ 1389032 w 1452882"/>
              <a:gd name="connsiteY10" fmla="*/ 62558 h 3088800"/>
              <a:gd name="connsiteX11" fmla="*/ 1440112 w 1452882"/>
              <a:gd name="connsiteY11" fmla="*/ 140466 h 3088800"/>
              <a:gd name="connsiteX12" fmla="*/ 1452882 w 1452882"/>
              <a:gd name="connsiteY12" fmla="*/ 200128 h 3088800"/>
              <a:gd name="connsiteX13" fmla="*/ 1452882 w 1452882"/>
              <a:gd name="connsiteY13" fmla="*/ 2893886 h 3088800"/>
              <a:gd name="connsiteX14" fmla="*/ 1400061 w 1452882"/>
              <a:gd name="connsiteY14" fmla="*/ 3015816 h 3088800"/>
              <a:gd name="connsiteX15" fmla="*/ 1327794 w 1452882"/>
              <a:gd name="connsiteY15" fmla="*/ 3069396 h 3088800"/>
              <a:gd name="connsiteX16" fmla="*/ 1250013 w 1452882"/>
              <a:gd name="connsiteY16" fmla="*/ 3088800 h 3088800"/>
              <a:gd name="connsiteX17" fmla="*/ 195904 w 1452882"/>
              <a:gd name="connsiteY17" fmla="*/ 3088800 h 3088800"/>
              <a:gd name="connsiteX18" fmla="*/ 120445 w 1452882"/>
              <a:gd name="connsiteY18" fmla="*/ 3067368 h 3088800"/>
              <a:gd name="connsiteX19" fmla="*/ 48178 w 1452882"/>
              <a:gd name="connsiteY19" fmla="*/ 3008865 h 3088800"/>
              <a:gd name="connsiteX20" fmla="*/ 0 w 1452882"/>
              <a:gd name="connsiteY20" fmla="*/ 2877957 h 3088800"/>
              <a:gd name="connsiteX21" fmla="*/ 871 w 1452882"/>
              <a:gd name="connsiteY21" fmla="*/ 204472 h 3088800"/>
              <a:gd name="connsiteX22" fmla="*/ 17704 w 1452882"/>
              <a:gd name="connsiteY22" fmla="*/ 126854 h 3088800"/>
              <a:gd name="connsiteX23" fmla="*/ 68784 w 1452882"/>
              <a:gd name="connsiteY23" fmla="*/ 58503 h 3088800"/>
              <a:gd name="connsiteX24" fmla="*/ 202870 w 1452882"/>
              <a:gd name="connsiteY24" fmla="*/ 0 h 30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52882" h="3088800">
                <a:moveTo>
                  <a:pt x="202870" y="0"/>
                </a:moveTo>
                <a:cubicBezTo>
                  <a:pt x="307352" y="0"/>
                  <a:pt x="307352" y="0"/>
                  <a:pt x="307352" y="0"/>
                </a:cubicBezTo>
                <a:cubicBezTo>
                  <a:pt x="307352" y="0"/>
                  <a:pt x="317220" y="2896"/>
                  <a:pt x="321573" y="16508"/>
                </a:cubicBezTo>
                <a:cubicBezTo>
                  <a:pt x="325926" y="30121"/>
                  <a:pt x="339567" y="82542"/>
                  <a:pt x="363366" y="98181"/>
                </a:cubicBezTo>
                <a:cubicBezTo>
                  <a:pt x="382231" y="110345"/>
                  <a:pt x="416768" y="106580"/>
                  <a:pt x="416768" y="106580"/>
                </a:cubicBezTo>
                <a:cubicBezTo>
                  <a:pt x="1056431" y="106580"/>
                  <a:pt x="1056431" y="106580"/>
                  <a:pt x="1056431" y="106580"/>
                </a:cubicBezTo>
                <a:cubicBezTo>
                  <a:pt x="1056431" y="106580"/>
                  <a:pt x="1080229" y="107739"/>
                  <a:pt x="1095902" y="87755"/>
                </a:cubicBezTo>
                <a:cubicBezTo>
                  <a:pt x="1111574" y="68061"/>
                  <a:pt x="1130439" y="9847"/>
                  <a:pt x="1130439" y="9847"/>
                </a:cubicBezTo>
                <a:cubicBezTo>
                  <a:pt x="1130439" y="9847"/>
                  <a:pt x="1133051" y="579"/>
                  <a:pt x="1147562" y="579"/>
                </a:cubicBezTo>
                <a:cubicBezTo>
                  <a:pt x="1162364" y="579"/>
                  <a:pt x="1255237" y="579"/>
                  <a:pt x="1262202" y="579"/>
                </a:cubicBezTo>
                <a:cubicBezTo>
                  <a:pt x="1265395" y="579"/>
                  <a:pt x="1344337" y="15060"/>
                  <a:pt x="1389032" y="62558"/>
                </a:cubicBezTo>
                <a:cubicBezTo>
                  <a:pt x="1411089" y="86017"/>
                  <a:pt x="1431115" y="114400"/>
                  <a:pt x="1440112" y="140466"/>
                </a:cubicBezTo>
                <a:cubicBezTo>
                  <a:pt x="1451431" y="172324"/>
                  <a:pt x="1452882" y="200128"/>
                  <a:pt x="1452882" y="200128"/>
                </a:cubicBezTo>
                <a:cubicBezTo>
                  <a:pt x="1452882" y="2893886"/>
                  <a:pt x="1452882" y="2893886"/>
                  <a:pt x="1452882" y="2893886"/>
                </a:cubicBezTo>
                <a:cubicBezTo>
                  <a:pt x="1452882" y="2893886"/>
                  <a:pt x="1443305" y="2974690"/>
                  <a:pt x="1400061" y="3015816"/>
                </a:cubicBezTo>
                <a:cubicBezTo>
                  <a:pt x="1373360" y="3041302"/>
                  <a:pt x="1353334" y="3058100"/>
                  <a:pt x="1327794" y="3069396"/>
                </a:cubicBezTo>
                <a:cubicBezTo>
                  <a:pt x="1287742" y="3087352"/>
                  <a:pt x="1250013" y="3088800"/>
                  <a:pt x="1250013" y="3088800"/>
                </a:cubicBezTo>
                <a:cubicBezTo>
                  <a:pt x="195904" y="3088800"/>
                  <a:pt x="195904" y="3088800"/>
                  <a:pt x="195904" y="3088800"/>
                </a:cubicBezTo>
                <a:cubicBezTo>
                  <a:pt x="195904" y="3088800"/>
                  <a:pt x="157013" y="3084456"/>
                  <a:pt x="120445" y="3067368"/>
                </a:cubicBezTo>
                <a:cubicBezTo>
                  <a:pt x="85908" y="3051439"/>
                  <a:pt x="72267" y="3034641"/>
                  <a:pt x="48178" y="3008865"/>
                </a:cubicBezTo>
                <a:cubicBezTo>
                  <a:pt x="581" y="2957602"/>
                  <a:pt x="0" y="2877957"/>
                  <a:pt x="0" y="2877957"/>
                </a:cubicBezTo>
                <a:lnTo>
                  <a:pt x="871" y="204472"/>
                </a:lnTo>
                <a:cubicBezTo>
                  <a:pt x="871" y="204472"/>
                  <a:pt x="1161" y="167111"/>
                  <a:pt x="17704" y="126854"/>
                </a:cubicBezTo>
                <a:cubicBezTo>
                  <a:pt x="27572" y="102815"/>
                  <a:pt x="49049" y="78198"/>
                  <a:pt x="68784" y="58503"/>
                </a:cubicBezTo>
                <a:cubicBezTo>
                  <a:pt x="117252" y="9268"/>
                  <a:pt x="202870" y="0"/>
                  <a:pt x="202870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2681D62F-4793-4C2E-8783-7DAF67F9AF3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80359" y="1810291"/>
            <a:ext cx="1452882" cy="3088800"/>
          </a:xfrm>
          <a:custGeom>
            <a:avLst/>
            <a:gdLst>
              <a:gd name="connsiteX0" fmla="*/ 202870 w 1452882"/>
              <a:gd name="connsiteY0" fmla="*/ 0 h 3088800"/>
              <a:gd name="connsiteX1" fmla="*/ 307352 w 1452882"/>
              <a:gd name="connsiteY1" fmla="*/ 0 h 3088800"/>
              <a:gd name="connsiteX2" fmla="*/ 321573 w 1452882"/>
              <a:gd name="connsiteY2" fmla="*/ 16508 h 3088800"/>
              <a:gd name="connsiteX3" fmla="*/ 363366 w 1452882"/>
              <a:gd name="connsiteY3" fmla="*/ 98181 h 3088800"/>
              <a:gd name="connsiteX4" fmla="*/ 416768 w 1452882"/>
              <a:gd name="connsiteY4" fmla="*/ 106580 h 3088800"/>
              <a:gd name="connsiteX5" fmla="*/ 1056431 w 1452882"/>
              <a:gd name="connsiteY5" fmla="*/ 106580 h 3088800"/>
              <a:gd name="connsiteX6" fmla="*/ 1095902 w 1452882"/>
              <a:gd name="connsiteY6" fmla="*/ 87755 h 3088800"/>
              <a:gd name="connsiteX7" fmla="*/ 1130439 w 1452882"/>
              <a:gd name="connsiteY7" fmla="*/ 9847 h 3088800"/>
              <a:gd name="connsiteX8" fmla="*/ 1147562 w 1452882"/>
              <a:gd name="connsiteY8" fmla="*/ 579 h 3088800"/>
              <a:gd name="connsiteX9" fmla="*/ 1262202 w 1452882"/>
              <a:gd name="connsiteY9" fmla="*/ 579 h 3088800"/>
              <a:gd name="connsiteX10" fmla="*/ 1389032 w 1452882"/>
              <a:gd name="connsiteY10" fmla="*/ 62558 h 3088800"/>
              <a:gd name="connsiteX11" fmla="*/ 1440112 w 1452882"/>
              <a:gd name="connsiteY11" fmla="*/ 140466 h 3088800"/>
              <a:gd name="connsiteX12" fmla="*/ 1452882 w 1452882"/>
              <a:gd name="connsiteY12" fmla="*/ 200128 h 3088800"/>
              <a:gd name="connsiteX13" fmla="*/ 1452882 w 1452882"/>
              <a:gd name="connsiteY13" fmla="*/ 2893886 h 3088800"/>
              <a:gd name="connsiteX14" fmla="*/ 1400061 w 1452882"/>
              <a:gd name="connsiteY14" fmla="*/ 3015816 h 3088800"/>
              <a:gd name="connsiteX15" fmla="*/ 1327794 w 1452882"/>
              <a:gd name="connsiteY15" fmla="*/ 3069396 h 3088800"/>
              <a:gd name="connsiteX16" fmla="*/ 1250013 w 1452882"/>
              <a:gd name="connsiteY16" fmla="*/ 3088800 h 3088800"/>
              <a:gd name="connsiteX17" fmla="*/ 195904 w 1452882"/>
              <a:gd name="connsiteY17" fmla="*/ 3088800 h 3088800"/>
              <a:gd name="connsiteX18" fmla="*/ 120445 w 1452882"/>
              <a:gd name="connsiteY18" fmla="*/ 3067368 h 3088800"/>
              <a:gd name="connsiteX19" fmla="*/ 48178 w 1452882"/>
              <a:gd name="connsiteY19" fmla="*/ 3008865 h 3088800"/>
              <a:gd name="connsiteX20" fmla="*/ 0 w 1452882"/>
              <a:gd name="connsiteY20" fmla="*/ 2877957 h 3088800"/>
              <a:gd name="connsiteX21" fmla="*/ 871 w 1452882"/>
              <a:gd name="connsiteY21" fmla="*/ 204472 h 3088800"/>
              <a:gd name="connsiteX22" fmla="*/ 17704 w 1452882"/>
              <a:gd name="connsiteY22" fmla="*/ 126854 h 3088800"/>
              <a:gd name="connsiteX23" fmla="*/ 68784 w 1452882"/>
              <a:gd name="connsiteY23" fmla="*/ 58503 h 3088800"/>
              <a:gd name="connsiteX24" fmla="*/ 202870 w 1452882"/>
              <a:gd name="connsiteY24" fmla="*/ 0 h 30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52882" h="3088800">
                <a:moveTo>
                  <a:pt x="202870" y="0"/>
                </a:moveTo>
                <a:cubicBezTo>
                  <a:pt x="307352" y="0"/>
                  <a:pt x="307352" y="0"/>
                  <a:pt x="307352" y="0"/>
                </a:cubicBezTo>
                <a:cubicBezTo>
                  <a:pt x="307352" y="0"/>
                  <a:pt x="317220" y="2896"/>
                  <a:pt x="321573" y="16508"/>
                </a:cubicBezTo>
                <a:cubicBezTo>
                  <a:pt x="325926" y="30121"/>
                  <a:pt x="339567" y="82542"/>
                  <a:pt x="363366" y="98181"/>
                </a:cubicBezTo>
                <a:cubicBezTo>
                  <a:pt x="382231" y="110345"/>
                  <a:pt x="416768" y="106580"/>
                  <a:pt x="416768" y="106580"/>
                </a:cubicBezTo>
                <a:cubicBezTo>
                  <a:pt x="1056431" y="106580"/>
                  <a:pt x="1056431" y="106580"/>
                  <a:pt x="1056431" y="106580"/>
                </a:cubicBezTo>
                <a:cubicBezTo>
                  <a:pt x="1056431" y="106580"/>
                  <a:pt x="1080229" y="107739"/>
                  <a:pt x="1095902" y="87755"/>
                </a:cubicBezTo>
                <a:cubicBezTo>
                  <a:pt x="1111574" y="68061"/>
                  <a:pt x="1130439" y="9847"/>
                  <a:pt x="1130439" y="9847"/>
                </a:cubicBezTo>
                <a:cubicBezTo>
                  <a:pt x="1130439" y="9847"/>
                  <a:pt x="1133051" y="579"/>
                  <a:pt x="1147562" y="579"/>
                </a:cubicBezTo>
                <a:cubicBezTo>
                  <a:pt x="1162364" y="579"/>
                  <a:pt x="1255237" y="579"/>
                  <a:pt x="1262202" y="579"/>
                </a:cubicBezTo>
                <a:cubicBezTo>
                  <a:pt x="1265395" y="579"/>
                  <a:pt x="1344337" y="15060"/>
                  <a:pt x="1389032" y="62558"/>
                </a:cubicBezTo>
                <a:cubicBezTo>
                  <a:pt x="1411089" y="86017"/>
                  <a:pt x="1431115" y="114400"/>
                  <a:pt x="1440112" y="140466"/>
                </a:cubicBezTo>
                <a:cubicBezTo>
                  <a:pt x="1451431" y="172324"/>
                  <a:pt x="1452882" y="200128"/>
                  <a:pt x="1452882" y="200128"/>
                </a:cubicBezTo>
                <a:cubicBezTo>
                  <a:pt x="1452882" y="2893886"/>
                  <a:pt x="1452882" y="2893886"/>
                  <a:pt x="1452882" y="2893886"/>
                </a:cubicBezTo>
                <a:cubicBezTo>
                  <a:pt x="1452882" y="2893886"/>
                  <a:pt x="1443305" y="2974690"/>
                  <a:pt x="1400061" y="3015816"/>
                </a:cubicBezTo>
                <a:cubicBezTo>
                  <a:pt x="1373360" y="3041302"/>
                  <a:pt x="1353334" y="3058100"/>
                  <a:pt x="1327794" y="3069396"/>
                </a:cubicBezTo>
                <a:cubicBezTo>
                  <a:pt x="1287742" y="3087352"/>
                  <a:pt x="1250013" y="3088800"/>
                  <a:pt x="1250013" y="3088800"/>
                </a:cubicBezTo>
                <a:cubicBezTo>
                  <a:pt x="195904" y="3088800"/>
                  <a:pt x="195904" y="3088800"/>
                  <a:pt x="195904" y="3088800"/>
                </a:cubicBezTo>
                <a:cubicBezTo>
                  <a:pt x="195904" y="3088800"/>
                  <a:pt x="157013" y="3084456"/>
                  <a:pt x="120445" y="3067368"/>
                </a:cubicBezTo>
                <a:cubicBezTo>
                  <a:pt x="85908" y="3051439"/>
                  <a:pt x="72267" y="3034641"/>
                  <a:pt x="48178" y="3008865"/>
                </a:cubicBezTo>
                <a:cubicBezTo>
                  <a:pt x="581" y="2957602"/>
                  <a:pt x="0" y="2877957"/>
                  <a:pt x="0" y="2877957"/>
                </a:cubicBezTo>
                <a:lnTo>
                  <a:pt x="871" y="204472"/>
                </a:lnTo>
                <a:cubicBezTo>
                  <a:pt x="871" y="204472"/>
                  <a:pt x="1161" y="167111"/>
                  <a:pt x="17704" y="126854"/>
                </a:cubicBezTo>
                <a:cubicBezTo>
                  <a:pt x="27572" y="102815"/>
                  <a:pt x="49049" y="78198"/>
                  <a:pt x="68784" y="58503"/>
                </a:cubicBezTo>
                <a:cubicBezTo>
                  <a:pt x="117252" y="9268"/>
                  <a:pt x="202870" y="0"/>
                  <a:pt x="202870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9920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, Content and iPho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0A5685-ADC9-4197-AAEB-665323328B34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3689"/>
            <a:ext cx="5056675" cy="3329423"/>
          </a:xfrm>
        </p:spPr>
        <p:txBody>
          <a:bodyPr spcCol="54000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639103-1054-48CB-9C4A-BC221A9D489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0063" y="1481655"/>
            <a:ext cx="5056675" cy="786765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 descr="A picture containing monitor&#10;&#10;Description automatically generated">
            <a:extLst>
              <a:ext uri="{FF2B5EF4-FFF2-40B4-BE49-F238E27FC236}">
                <a16:creationId xmlns:a16="http://schemas.microsoft.com/office/drawing/2014/main" id="{56C82B6E-CB3C-472B-826E-0AF65C1329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8825" y="-410658"/>
            <a:ext cx="5009044" cy="7670523"/>
          </a:xfrm>
          <a:prstGeom prst="rect">
            <a:avLst/>
          </a:prstGeom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5BB1AFEC-6A42-4E41-9AB3-8AA1E87ADC0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907261" y="791536"/>
            <a:ext cx="2456870" cy="5227200"/>
          </a:xfrm>
          <a:custGeom>
            <a:avLst/>
            <a:gdLst>
              <a:gd name="connsiteX0" fmla="*/ 202870 w 1452882"/>
              <a:gd name="connsiteY0" fmla="*/ 0 h 3088800"/>
              <a:gd name="connsiteX1" fmla="*/ 307352 w 1452882"/>
              <a:gd name="connsiteY1" fmla="*/ 0 h 3088800"/>
              <a:gd name="connsiteX2" fmla="*/ 321573 w 1452882"/>
              <a:gd name="connsiteY2" fmla="*/ 16508 h 3088800"/>
              <a:gd name="connsiteX3" fmla="*/ 363366 w 1452882"/>
              <a:gd name="connsiteY3" fmla="*/ 98181 h 3088800"/>
              <a:gd name="connsiteX4" fmla="*/ 416768 w 1452882"/>
              <a:gd name="connsiteY4" fmla="*/ 106580 h 3088800"/>
              <a:gd name="connsiteX5" fmla="*/ 1056431 w 1452882"/>
              <a:gd name="connsiteY5" fmla="*/ 106580 h 3088800"/>
              <a:gd name="connsiteX6" fmla="*/ 1095902 w 1452882"/>
              <a:gd name="connsiteY6" fmla="*/ 87755 h 3088800"/>
              <a:gd name="connsiteX7" fmla="*/ 1130439 w 1452882"/>
              <a:gd name="connsiteY7" fmla="*/ 9847 h 3088800"/>
              <a:gd name="connsiteX8" fmla="*/ 1147562 w 1452882"/>
              <a:gd name="connsiteY8" fmla="*/ 579 h 3088800"/>
              <a:gd name="connsiteX9" fmla="*/ 1262202 w 1452882"/>
              <a:gd name="connsiteY9" fmla="*/ 579 h 3088800"/>
              <a:gd name="connsiteX10" fmla="*/ 1389032 w 1452882"/>
              <a:gd name="connsiteY10" fmla="*/ 62558 h 3088800"/>
              <a:gd name="connsiteX11" fmla="*/ 1440112 w 1452882"/>
              <a:gd name="connsiteY11" fmla="*/ 140466 h 3088800"/>
              <a:gd name="connsiteX12" fmla="*/ 1452882 w 1452882"/>
              <a:gd name="connsiteY12" fmla="*/ 200128 h 3088800"/>
              <a:gd name="connsiteX13" fmla="*/ 1452882 w 1452882"/>
              <a:gd name="connsiteY13" fmla="*/ 2893886 h 3088800"/>
              <a:gd name="connsiteX14" fmla="*/ 1400061 w 1452882"/>
              <a:gd name="connsiteY14" fmla="*/ 3015816 h 3088800"/>
              <a:gd name="connsiteX15" fmla="*/ 1327794 w 1452882"/>
              <a:gd name="connsiteY15" fmla="*/ 3069396 h 3088800"/>
              <a:gd name="connsiteX16" fmla="*/ 1250013 w 1452882"/>
              <a:gd name="connsiteY16" fmla="*/ 3088800 h 3088800"/>
              <a:gd name="connsiteX17" fmla="*/ 195904 w 1452882"/>
              <a:gd name="connsiteY17" fmla="*/ 3088800 h 3088800"/>
              <a:gd name="connsiteX18" fmla="*/ 120445 w 1452882"/>
              <a:gd name="connsiteY18" fmla="*/ 3067368 h 3088800"/>
              <a:gd name="connsiteX19" fmla="*/ 48178 w 1452882"/>
              <a:gd name="connsiteY19" fmla="*/ 3008865 h 3088800"/>
              <a:gd name="connsiteX20" fmla="*/ 0 w 1452882"/>
              <a:gd name="connsiteY20" fmla="*/ 2877957 h 3088800"/>
              <a:gd name="connsiteX21" fmla="*/ 871 w 1452882"/>
              <a:gd name="connsiteY21" fmla="*/ 204472 h 3088800"/>
              <a:gd name="connsiteX22" fmla="*/ 17704 w 1452882"/>
              <a:gd name="connsiteY22" fmla="*/ 126854 h 3088800"/>
              <a:gd name="connsiteX23" fmla="*/ 68784 w 1452882"/>
              <a:gd name="connsiteY23" fmla="*/ 58503 h 3088800"/>
              <a:gd name="connsiteX24" fmla="*/ 202870 w 1452882"/>
              <a:gd name="connsiteY24" fmla="*/ 0 h 30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52882" h="3088800">
                <a:moveTo>
                  <a:pt x="202870" y="0"/>
                </a:moveTo>
                <a:cubicBezTo>
                  <a:pt x="307352" y="0"/>
                  <a:pt x="307352" y="0"/>
                  <a:pt x="307352" y="0"/>
                </a:cubicBezTo>
                <a:cubicBezTo>
                  <a:pt x="307352" y="0"/>
                  <a:pt x="317220" y="2896"/>
                  <a:pt x="321573" y="16508"/>
                </a:cubicBezTo>
                <a:cubicBezTo>
                  <a:pt x="325926" y="30121"/>
                  <a:pt x="339567" y="82542"/>
                  <a:pt x="363366" y="98181"/>
                </a:cubicBezTo>
                <a:cubicBezTo>
                  <a:pt x="382231" y="110345"/>
                  <a:pt x="416768" y="106580"/>
                  <a:pt x="416768" y="106580"/>
                </a:cubicBezTo>
                <a:cubicBezTo>
                  <a:pt x="1056431" y="106580"/>
                  <a:pt x="1056431" y="106580"/>
                  <a:pt x="1056431" y="106580"/>
                </a:cubicBezTo>
                <a:cubicBezTo>
                  <a:pt x="1056431" y="106580"/>
                  <a:pt x="1080229" y="107739"/>
                  <a:pt x="1095902" y="87755"/>
                </a:cubicBezTo>
                <a:cubicBezTo>
                  <a:pt x="1111574" y="68061"/>
                  <a:pt x="1130439" y="9847"/>
                  <a:pt x="1130439" y="9847"/>
                </a:cubicBezTo>
                <a:cubicBezTo>
                  <a:pt x="1130439" y="9847"/>
                  <a:pt x="1133051" y="579"/>
                  <a:pt x="1147562" y="579"/>
                </a:cubicBezTo>
                <a:cubicBezTo>
                  <a:pt x="1162364" y="579"/>
                  <a:pt x="1255237" y="579"/>
                  <a:pt x="1262202" y="579"/>
                </a:cubicBezTo>
                <a:cubicBezTo>
                  <a:pt x="1265395" y="579"/>
                  <a:pt x="1344337" y="15060"/>
                  <a:pt x="1389032" y="62558"/>
                </a:cubicBezTo>
                <a:cubicBezTo>
                  <a:pt x="1411089" y="86017"/>
                  <a:pt x="1431115" y="114400"/>
                  <a:pt x="1440112" y="140466"/>
                </a:cubicBezTo>
                <a:cubicBezTo>
                  <a:pt x="1451431" y="172324"/>
                  <a:pt x="1452882" y="200128"/>
                  <a:pt x="1452882" y="200128"/>
                </a:cubicBezTo>
                <a:cubicBezTo>
                  <a:pt x="1452882" y="2893886"/>
                  <a:pt x="1452882" y="2893886"/>
                  <a:pt x="1452882" y="2893886"/>
                </a:cubicBezTo>
                <a:cubicBezTo>
                  <a:pt x="1452882" y="2893886"/>
                  <a:pt x="1443305" y="2974690"/>
                  <a:pt x="1400061" y="3015816"/>
                </a:cubicBezTo>
                <a:cubicBezTo>
                  <a:pt x="1373360" y="3041302"/>
                  <a:pt x="1353334" y="3058100"/>
                  <a:pt x="1327794" y="3069396"/>
                </a:cubicBezTo>
                <a:cubicBezTo>
                  <a:pt x="1287742" y="3087352"/>
                  <a:pt x="1250013" y="3088800"/>
                  <a:pt x="1250013" y="3088800"/>
                </a:cubicBezTo>
                <a:cubicBezTo>
                  <a:pt x="195904" y="3088800"/>
                  <a:pt x="195904" y="3088800"/>
                  <a:pt x="195904" y="3088800"/>
                </a:cubicBezTo>
                <a:cubicBezTo>
                  <a:pt x="195904" y="3088800"/>
                  <a:pt x="157013" y="3084456"/>
                  <a:pt x="120445" y="3067368"/>
                </a:cubicBezTo>
                <a:cubicBezTo>
                  <a:pt x="85908" y="3051439"/>
                  <a:pt x="72267" y="3034641"/>
                  <a:pt x="48178" y="3008865"/>
                </a:cubicBezTo>
                <a:cubicBezTo>
                  <a:pt x="581" y="2957602"/>
                  <a:pt x="0" y="2877957"/>
                  <a:pt x="0" y="2877957"/>
                </a:cubicBezTo>
                <a:lnTo>
                  <a:pt x="871" y="204472"/>
                </a:lnTo>
                <a:cubicBezTo>
                  <a:pt x="871" y="204472"/>
                  <a:pt x="1161" y="167111"/>
                  <a:pt x="17704" y="126854"/>
                </a:cubicBezTo>
                <a:cubicBezTo>
                  <a:pt x="27572" y="102815"/>
                  <a:pt x="49049" y="78198"/>
                  <a:pt x="68784" y="58503"/>
                </a:cubicBezTo>
                <a:cubicBezTo>
                  <a:pt x="117252" y="9268"/>
                  <a:pt x="202870" y="0"/>
                  <a:pt x="202870" y="0"/>
                </a:cubicBezTo>
                <a:close/>
              </a:path>
            </a:pathLst>
          </a:custGeom>
          <a:noFill/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501744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, Content and iPho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0A5685-ADC9-4197-AAEB-665323328B34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5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B1E377C-23FC-445F-9057-22E1F95A48B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80"/>
          <a:stretch/>
        </p:blipFill>
        <p:spPr>
          <a:xfrm>
            <a:off x="5837153" y="18049"/>
            <a:ext cx="6528348" cy="68399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3689"/>
            <a:ext cx="5056675" cy="3329423"/>
          </a:xfrm>
        </p:spPr>
        <p:txBody>
          <a:bodyPr spcCol="54000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639103-1054-48CB-9C4A-BC221A9D489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0063" y="1481655"/>
            <a:ext cx="5056675" cy="78676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5BB1AFEC-6A42-4E41-9AB3-8AA1E87ADC0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05554" y="872975"/>
            <a:ext cx="2456870" cy="5220000"/>
          </a:xfrm>
          <a:custGeom>
            <a:avLst/>
            <a:gdLst>
              <a:gd name="connsiteX0" fmla="*/ 202870 w 1452882"/>
              <a:gd name="connsiteY0" fmla="*/ 0 h 3088800"/>
              <a:gd name="connsiteX1" fmla="*/ 307352 w 1452882"/>
              <a:gd name="connsiteY1" fmla="*/ 0 h 3088800"/>
              <a:gd name="connsiteX2" fmla="*/ 321573 w 1452882"/>
              <a:gd name="connsiteY2" fmla="*/ 16508 h 3088800"/>
              <a:gd name="connsiteX3" fmla="*/ 363366 w 1452882"/>
              <a:gd name="connsiteY3" fmla="*/ 98181 h 3088800"/>
              <a:gd name="connsiteX4" fmla="*/ 416768 w 1452882"/>
              <a:gd name="connsiteY4" fmla="*/ 106580 h 3088800"/>
              <a:gd name="connsiteX5" fmla="*/ 1056431 w 1452882"/>
              <a:gd name="connsiteY5" fmla="*/ 106580 h 3088800"/>
              <a:gd name="connsiteX6" fmla="*/ 1095902 w 1452882"/>
              <a:gd name="connsiteY6" fmla="*/ 87755 h 3088800"/>
              <a:gd name="connsiteX7" fmla="*/ 1130439 w 1452882"/>
              <a:gd name="connsiteY7" fmla="*/ 9847 h 3088800"/>
              <a:gd name="connsiteX8" fmla="*/ 1147562 w 1452882"/>
              <a:gd name="connsiteY8" fmla="*/ 579 h 3088800"/>
              <a:gd name="connsiteX9" fmla="*/ 1262202 w 1452882"/>
              <a:gd name="connsiteY9" fmla="*/ 579 h 3088800"/>
              <a:gd name="connsiteX10" fmla="*/ 1389032 w 1452882"/>
              <a:gd name="connsiteY10" fmla="*/ 62558 h 3088800"/>
              <a:gd name="connsiteX11" fmla="*/ 1440112 w 1452882"/>
              <a:gd name="connsiteY11" fmla="*/ 140466 h 3088800"/>
              <a:gd name="connsiteX12" fmla="*/ 1452882 w 1452882"/>
              <a:gd name="connsiteY12" fmla="*/ 200128 h 3088800"/>
              <a:gd name="connsiteX13" fmla="*/ 1452882 w 1452882"/>
              <a:gd name="connsiteY13" fmla="*/ 2893886 h 3088800"/>
              <a:gd name="connsiteX14" fmla="*/ 1400061 w 1452882"/>
              <a:gd name="connsiteY14" fmla="*/ 3015816 h 3088800"/>
              <a:gd name="connsiteX15" fmla="*/ 1327794 w 1452882"/>
              <a:gd name="connsiteY15" fmla="*/ 3069396 h 3088800"/>
              <a:gd name="connsiteX16" fmla="*/ 1250013 w 1452882"/>
              <a:gd name="connsiteY16" fmla="*/ 3088800 h 3088800"/>
              <a:gd name="connsiteX17" fmla="*/ 195904 w 1452882"/>
              <a:gd name="connsiteY17" fmla="*/ 3088800 h 3088800"/>
              <a:gd name="connsiteX18" fmla="*/ 120445 w 1452882"/>
              <a:gd name="connsiteY18" fmla="*/ 3067368 h 3088800"/>
              <a:gd name="connsiteX19" fmla="*/ 48178 w 1452882"/>
              <a:gd name="connsiteY19" fmla="*/ 3008865 h 3088800"/>
              <a:gd name="connsiteX20" fmla="*/ 0 w 1452882"/>
              <a:gd name="connsiteY20" fmla="*/ 2877957 h 3088800"/>
              <a:gd name="connsiteX21" fmla="*/ 871 w 1452882"/>
              <a:gd name="connsiteY21" fmla="*/ 204472 h 3088800"/>
              <a:gd name="connsiteX22" fmla="*/ 17704 w 1452882"/>
              <a:gd name="connsiteY22" fmla="*/ 126854 h 3088800"/>
              <a:gd name="connsiteX23" fmla="*/ 68784 w 1452882"/>
              <a:gd name="connsiteY23" fmla="*/ 58503 h 3088800"/>
              <a:gd name="connsiteX24" fmla="*/ 202870 w 1452882"/>
              <a:gd name="connsiteY24" fmla="*/ 0 h 30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52882" h="3088800">
                <a:moveTo>
                  <a:pt x="202870" y="0"/>
                </a:moveTo>
                <a:cubicBezTo>
                  <a:pt x="307352" y="0"/>
                  <a:pt x="307352" y="0"/>
                  <a:pt x="307352" y="0"/>
                </a:cubicBezTo>
                <a:cubicBezTo>
                  <a:pt x="307352" y="0"/>
                  <a:pt x="317220" y="2896"/>
                  <a:pt x="321573" y="16508"/>
                </a:cubicBezTo>
                <a:cubicBezTo>
                  <a:pt x="325926" y="30121"/>
                  <a:pt x="339567" y="82542"/>
                  <a:pt x="363366" y="98181"/>
                </a:cubicBezTo>
                <a:cubicBezTo>
                  <a:pt x="382231" y="110345"/>
                  <a:pt x="416768" y="106580"/>
                  <a:pt x="416768" y="106580"/>
                </a:cubicBezTo>
                <a:cubicBezTo>
                  <a:pt x="1056431" y="106580"/>
                  <a:pt x="1056431" y="106580"/>
                  <a:pt x="1056431" y="106580"/>
                </a:cubicBezTo>
                <a:cubicBezTo>
                  <a:pt x="1056431" y="106580"/>
                  <a:pt x="1080229" y="107739"/>
                  <a:pt x="1095902" y="87755"/>
                </a:cubicBezTo>
                <a:cubicBezTo>
                  <a:pt x="1111574" y="68061"/>
                  <a:pt x="1130439" y="9847"/>
                  <a:pt x="1130439" y="9847"/>
                </a:cubicBezTo>
                <a:cubicBezTo>
                  <a:pt x="1130439" y="9847"/>
                  <a:pt x="1133051" y="579"/>
                  <a:pt x="1147562" y="579"/>
                </a:cubicBezTo>
                <a:cubicBezTo>
                  <a:pt x="1162364" y="579"/>
                  <a:pt x="1255237" y="579"/>
                  <a:pt x="1262202" y="579"/>
                </a:cubicBezTo>
                <a:cubicBezTo>
                  <a:pt x="1265395" y="579"/>
                  <a:pt x="1344337" y="15060"/>
                  <a:pt x="1389032" y="62558"/>
                </a:cubicBezTo>
                <a:cubicBezTo>
                  <a:pt x="1411089" y="86017"/>
                  <a:pt x="1431115" y="114400"/>
                  <a:pt x="1440112" y="140466"/>
                </a:cubicBezTo>
                <a:cubicBezTo>
                  <a:pt x="1451431" y="172324"/>
                  <a:pt x="1452882" y="200128"/>
                  <a:pt x="1452882" y="200128"/>
                </a:cubicBezTo>
                <a:cubicBezTo>
                  <a:pt x="1452882" y="2893886"/>
                  <a:pt x="1452882" y="2893886"/>
                  <a:pt x="1452882" y="2893886"/>
                </a:cubicBezTo>
                <a:cubicBezTo>
                  <a:pt x="1452882" y="2893886"/>
                  <a:pt x="1443305" y="2974690"/>
                  <a:pt x="1400061" y="3015816"/>
                </a:cubicBezTo>
                <a:cubicBezTo>
                  <a:pt x="1373360" y="3041302"/>
                  <a:pt x="1353334" y="3058100"/>
                  <a:pt x="1327794" y="3069396"/>
                </a:cubicBezTo>
                <a:cubicBezTo>
                  <a:pt x="1287742" y="3087352"/>
                  <a:pt x="1250013" y="3088800"/>
                  <a:pt x="1250013" y="3088800"/>
                </a:cubicBezTo>
                <a:cubicBezTo>
                  <a:pt x="195904" y="3088800"/>
                  <a:pt x="195904" y="3088800"/>
                  <a:pt x="195904" y="3088800"/>
                </a:cubicBezTo>
                <a:cubicBezTo>
                  <a:pt x="195904" y="3088800"/>
                  <a:pt x="157013" y="3084456"/>
                  <a:pt x="120445" y="3067368"/>
                </a:cubicBezTo>
                <a:cubicBezTo>
                  <a:pt x="85908" y="3051439"/>
                  <a:pt x="72267" y="3034641"/>
                  <a:pt x="48178" y="3008865"/>
                </a:cubicBezTo>
                <a:cubicBezTo>
                  <a:pt x="581" y="2957602"/>
                  <a:pt x="0" y="2877957"/>
                  <a:pt x="0" y="2877957"/>
                </a:cubicBezTo>
                <a:lnTo>
                  <a:pt x="871" y="204472"/>
                </a:lnTo>
                <a:cubicBezTo>
                  <a:pt x="871" y="204472"/>
                  <a:pt x="1161" y="167111"/>
                  <a:pt x="17704" y="126854"/>
                </a:cubicBezTo>
                <a:cubicBezTo>
                  <a:pt x="27572" y="102815"/>
                  <a:pt x="49049" y="78198"/>
                  <a:pt x="68784" y="58503"/>
                </a:cubicBezTo>
                <a:cubicBezTo>
                  <a:pt x="117252" y="9268"/>
                  <a:pt x="202870" y="0"/>
                  <a:pt x="202870" y="0"/>
                </a:cubicBezTo>
                <a:close/>
              </a:path>
            </a:pathLst>
          </a:custGeom>
          <a:noFill/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478915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rge Quote with Ima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4D66C40-4190-451C-BFBE-6482F5E51F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algn="r">
              <a:defRPr/>
            </a:lvl1pPr>
          </a:lstStyle>
          <a:p>
            <a:r>
              <a:rPr lang="en-US"/>
              <a:t>&lt;Click Icon to add image </a:t>
            </a:r>
            <a:endParaRPr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59EB59-5BB5-46C4-96FD-D1649C3BDE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82A4FB-3DFD-41EC-92CF-1DD7104087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89870444-DC05-4334-BFD6-251E58C00D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8912" y="502920"/>
            <a:ext cx="5592445" cy="5378450"/>
          </a:xfrm>
        </p:spPr>
        <p:txBody>
          <a:bodyPr/>
          <a:lstStyle>
            <a:lvl1pPr marL="180975" indent="-169863">
              <a:lnSpc>
                <a:spcPct val="100000"/>
              </a:lnSpc>
              <a:tabLst/>
              <a:defRPr sz="3200" b="0"/>
            </a:lvl1pPr>
            <a:lvl2pPr marL="447675" indent="-279400">
              <a:lnSpc>
                <a:spcPct val="100000"/>
              </a:lnSpc>
              <a:spcBef>
                <a:spcPts val="4200"/>
              </a:spcBef>
              <a:buClr>
                <a:schemeClr val="tx1"/>
              </a:buClr>
              <a:buFont typeface="Arial" panose="020B0604020202020204" pitchFamily="34" charset="0"/>
              <a:buChar char="―"/>
              <a:tabLst/>
              <a:defRPr/>
            </a:lvl2pPr>
            <a:lvl3pPr marL="628650" indent="-176213">
              <a:defRPr/>
            </a:lvl3pPr>
            <a:lvl4pPr marL="804863" indent="-180975">
              <a:defRPr/>
            </a:lvl4pPr>
            <a:lvl5pPr marL="985838" indent="-180975">
              <a:defRPr/>
            </a:lvl5pPr>
          </a:lstStyle>
          <a:p>
            <a:pPr lvl="0"/>
            <a:r>
              <a:t>“Click to edit Master text style</a:t>
            </a:r>
          </a:p>
          <a:p>
            <a:pPr lvl="1"/>
            <a:r>
              <a:t>Second level</a:t>
            </a:r>
          </a:p>
        </p:txBody>
      </p:sp>
      <p:grpSp>
        <p:nvGrpSpPr>
          <p:cNvPr id="21" name="asurion logo">
            <a:extLst>
              <a:ext uri="{FF2B5EF4-FFF2-40B4-BE49-F238E27FC236}">
                <a16:creationId xmlns:a16="http://schemas.microsoft.com/office/drawing/2014/main" id="{E55B49D8-5EEE-AD48-9EBD-B5AFB6C0983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1" y="6390186"/>
            <a:ext cx="918000" cy="213052"/>
            <a:chOff x="316" y="3952"/>
            <a:chExt cx="586" cy="136"/>
          </a:xfrm>
          <a:solidFill>
            <a:schemeClr val="tx1"/>
          </a:solidFill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6B58FAA7-A5CD-834E-B388-106BCA70F5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19992F17-3371-C547-8892-9B61328C15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13444910-E83A-454A-8F5F-98B05F75D2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7891E522-2F07-4E42-BB54-F095120429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A7914F86-14E6-F24C-93D3-9E74D4CDC2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586A02BD-5E6F-9A43-924A-4527C76B007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C3848A2A-2BA2-C445-8994-F35C259D7A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9585685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Quote with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D8020A8B-C6C0-D446-B3B4-3B71BF4A549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43650" y="0"/>
            <a:ext cx="58483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2C061E27-6E5D-0F45-87C9-E8095C3CAE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8912" y="502920"/>
            <a:ext cx="5592445" cy="5378450"/>
          </a:xfrm>
        </p:spPr>
        <p:txBody>
          <a:bodyPr/>
          <a:lstStyle>
            <a:lvl1pPr marL="182880" indent="-173736">
              <a:lnSpc>
                <a:spcPct val="100000"/>
              </a:lnSpc>
              <a:tabLst/>
              <a:defRPr sz="3200" b="0"/>
            </a:lvl1pPr>
            <a:lvl2pPr marL="447675" indent="-279400">
              <a:lnSpc>
                <a:spcPct val="100000"/>
              </a:lnSpc>
              <a:spcBef>
                <a:spcPts val="4200"/>
              </a:spcBef>
              <a:buClr>
                <a:schemeClr val="tx1"/>
              </a:buClr>
              <a:buFont typeface="Arial" panose="020B0604020202020204" pitchFamily="34" charset="0"/>
              <a:buChar char="―"/>
              <a:tabLst/>
              <a:defRPr/>
            </a:lvl2pPr>
            <a:lvl3pPr marL="628650" indent="-176213">
              <a:defRPr/>
            </a:lvl3pPr>
            <a:lvl4pPr marL="804863" indent="-180975">
              <a:defRPr/>
            </a:lvl4pPr>
            <a:lvl5pPr marL="985838" indent="-180975">
              <a:defRPr/>
            </a:lvl5pPr>
          </a:lstStyle>
          <a:p>
            <a:pPr lvl="0"/>
            <a:r>
              <a:t>“Click to edit Master text style</a:t>
            </a:r>
          </a:p>
          <a:p>
            <a:pPr lvl="1"/>
            <a: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49923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Text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>
            <a:extLst>
              <a:ext uri="{FF2B5EF4-FFF2-40B4-BE49-F238E27FC236}">
                <a16:creationId xmlns:a16="http://schemas.microsoft.com/office/drawing/2014/main" id="{8DB64F27-9AE8-0B46-A470-371BD746B7B5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32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22F74907-9901-41D8-B02E-D5156ACAC59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CD76F14-B7C1-4783-A9BB-4763BFA8875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523840A8-30E6-8342-B7EF-D226048008E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0063" y="2281373"/>
            <a:ext cx="5095874" cy="923330"/>
          </a:xfrm>
        </p:spPr>
        <p:txBody>
          <a:bodyPr wrap="square" lIns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6000" b="0"/>
            </a:lvl1pPr>
          </a:lstStyle>
          <a:p>
            <a:pPr lvl="0"/>
            <a:r>
              <a:t>Click to edit</a:t>
            </a:r>
          </a:p>
        </p:txBody>
      </p:sp>
      <p:sp>
        <p:nvSpPr>
          <p:cNvPr id="106" name="Text Placeholder 4">
            <a:extLst>
              <a:ext uri="{FF2B5EF4-FFF2-40B4-BE49-F238E27FC236}">
                <a16:creationId xmlns:a16="http://schemas.microsoft.com/office/drawing/2014/main" id="{69BB6328-9600-6B44-B410-6228CDEF901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0064" y="3257439"/>
            <a:ext cx="5095874" cy="1445421"/>
          </a:xfrm>
        </p:spPr>
        <p:txBody>
          <a:bodyPr lIns="0"/>
          <a:lstStyle>
            <a:lvl1pPr algn="l">
              <a:lnSpc>
                <a:spcPct val="100000"/>
              </a:lnSpc>
              <a:spcBef>
                <a:spcPts val="300"/>
              </a:spcBef>
              <a:defRPr sz="18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6850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Text N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2462A87A-469A-A743-8042-DB4369DE1B20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804864"/>
            <a:ext cx="5056632" cy="4822214"/>
          </a:xfrm>
        </p:spPr>
        <p:txBody>
          <a:bodyPr anchor="ctr" anchorCtr="0"/>
          <a:lstStyle>
            <a:lvl1pPr>
              <a:lnSpc>
                <a:spcPct val="90000"/>
              </a:lnSpc>
              <a:defRPr sz="8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DF938D9-FDBF-4E2E-9864-B9A3DEB81AA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3F92F295-8332-4AF1-945C-EF34A8F3D0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EEF77736-11B3-FD47-8D1A-0948642A926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97748" y="1387172"/>
            <a:ext cx="5094189" cy="3657599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1800" b="0"/>
            </a:lvl1pPr>
          </a:lstStyle>
          <a:p>
            <a:pPr lvl="0"/>
            <a:r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0154725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r Team Layou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en-US" sz="11500" b="0" i="0" spc="100">
                <a:solidFill>
                  <a:srgbClr val="FFFFFF"/>
                </a:solidFill>
                <a:latin typeface="+mj-lt"/>
              </a:rPr>
              <a:t>MORE</a:t>
            </a:r>
            <a:br>
              <a:rPr sz="11500" b="0" i="0" spc="100">
                <a:solidFill>
                  <a:srgbClr val="FFFFFF"/>
                </a:solidFill>
                <a:latin typeface="+mj-lt"/>
              </a:rPr>
            </a:br>
            <a:r>
              <a:rPr sz="11500" b="0" i="0" spc="100">
                <a:solidFill>
                  <a:srgbClr val="FFFFFF"/>
                </a:solidFill>
                <a:latin typeface="+mj-lt"/>
              </a:rPr>
              <a:t>LAYOU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0C9D3A-9A1A-C140-B0F7-9A8C63C4D4BD}"/>
              </a:ext>
            </a:extLst>
          </p:cNvPr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sz="1100" b="0" i="0" kern="1200">
                <a:solidFill>
                  <a:schemeClr val="bg1">
                    <a:lumMod val="85000"/>
                  </a:schemeClr>
                </a:solidFill>
                <a:effectLst/>
                <a:latin typeface="+mn-lt"/>
                <a:ea typeface="+mn-ea"/>
                <a:cs typeface="+mn-cs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693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r Team - Her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7A85A9E-2A2D-433F-BD91-82053E5A19D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43650" y="0"/>
            <a:ext cx="5848350" cy="6858000"/>
          </a:xfrm>
        </p:spPr>
        <p:txBody>
          <a:bodyPr anchor="ctr"/>
          <a:lstStyle>
            <a:lvl1pPr algn="l">
              <a:defRPr/>
            </a:lvl1pPr>
          </a:lstStyle>
          <a:p>
            <a:r>
              <a:rPr lang="en-US"/>
              <a:t>Click icon to add image&gt;</a:t>
            </a: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272087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4C8F12B-D471-4524-A21D-E2E0C4A3A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203B0C-11E9-4FDC-A004-C78D9EB13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97D1946-A27B-43F9-B00A-FC4DE83AD0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0063" y="3091180"/>
            <a:ext cx="5272087" cy="2755582"/>
          </a:xfrm>
        </p:spPr>
        <p:txBody>
          <a:bodyPr spcCol="540000"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0678756-BBF3-439F-ADEE-A76D2E9A1370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0063" y="2019945"/>
            <a:ext cx="5272087" cy="786765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2000" b="1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03406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r Team - 4 Peo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4C8F12B-D471-4524-A21D-E2E0C4A3A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203B0C-11E9-4FDC-A004-C78D9EB13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42ACEDA4-5C2A-4931-AC44-4B272EE3D58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00062" y="2539729"/>
            <a:ext cx="2547937" cy="2671005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F760FFA7-619E-40DF-AC66-F5C11B33A9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00063" y="5312999"/>
            <a:ext cx="2547936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CD369C5-DA54-4EC8-A861-59B2E550C75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0063" y="1459594"/>
            <a:ext cx="5799137" cy="844899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Picture Placeholder 8">
            <a:extLst>
              <a:ext uri="{FF2B5EF4-FFF2-40B4-BE49-F238E27FC236}">
                <a16:creationId xmlns:a16="http://schemas.microsoft.com/office/drawing/2014/main" id="{B5446C24-2D9C-42B4-901E-1052A1C6C28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381374" y="2539729"/>
            <a:ext cx="2547937" cy="2671005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7CB72C08-8293-4857-B537-E62B2714B7F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81375" y="5312999"/>
            <a:ext cx="2547936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3" name="Picture Placeholder 8">
            <a:extLst>
              <a:ext uri="{FF2B5EF4-FFF2-40B4-BE49-F238E27FC236}">
                <a16:creationId xmlns:a16="http://schemas.microsoft.com/office/drawing/2014/main" id="{2A475AAB-A6A9-4D28-90C7-B96351B827EF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262686" y="2539729"/>
            <a:ext cx="2547937" cy="2671005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2C717BB1-0365-4267-8343-54A47BB3B84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62687" y="5312999"/>
            <a:ext cx="2547936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5" name="Picture Placeholder 8">
            <a:extLst>
              <a:ext uri="{FF2B5EF4-FFF2-40B4-BE49-F238E27FC236}">
                <a16:creationId xmlns:a16="http://schemas.microsoft.com/office/drawing/2014/main" id="{52CFDD9E-D8C9-4A66-B0BF-B1F5FECE10A7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143999" y="2539729"/>
            <a:ext cx="2547937" cy="2671005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7291B81A-9C50-4F49-A41B-441287B3D49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144000" y="5312999"/>
            <a:ext cx="2547936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24714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9FEFC07C-C691-5447-AEDC-FF4F067CF35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524" y="0"/>
            <a:ext cx="12188952" cy="5598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F9B186-B379-43C9-BEFE-1C3220F80B34}"/>
              </a:ext>
            </a:extLst>
          </p:cNvPr>
          <p:cNvSpPr/>
          <p:nvPr/>
        </p:nvSpPr>
        <p:spPr>
          <a:xfrm>
            <a:off x="0" y="5598000"/>
            <a:ext cx="6096000" cy="126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4F442-ECB4-4EA4-AE95-53D8E965A64C}"/>
              </a:ext>
            </a:extLst>
          </p:cNvPr>
          <p:cNvSpPr/>
          <p:nvPr/>
        </p:nvSpPr>
        <p:spPr>
          <a:xfrm>
            <a:off x="6096000" y="5598000"/>
            <a:ext cx="6096000" cy="12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9" y="140677"/>
            <a:ext cx="5454650" cy="2453661"/>
          </a:xfrm>
        </p:spPr>
        <p:txBody>
          <a:bodyPr anchor="b"/>
          <a:lstStyle>
            <a:lvl1pPr algn="l">
              <a:lnSpc>
                <a:spcPct val="90000"/>
              </a:lnSpc>
              <a:defRPr sz="5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3022209"/>
            <a:ext cx="4086542" cy="2010506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15" name="asurion logo">
            <a:extLst>
              <a:ext uri="{FF2B5EF4-FFF2-40B4-BE49-F238E27FC236}">
                <a16:creationId xmlns:a16="http://schemas.microsoft.com/office/drawing/2014/main" id="{742C3EE8-5E66-4064-AD77-262ED2AF10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0" y="5995713"/>
            <a:ext cx="1527969" cy="354615"/>
            <a:chOff x="316" y="3952"/>
            <a:chExt cx="586" cy="136"/>
          </a:xfrm>
          <a:solidFill>
            <a:schemeClr val="bg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9EF3FF97-F9E4-4229-93B3-D336E320D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9D763D80-7D31-4C23-92B5-7AA5C7093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D0697A47-C99B-4053-ADFB-D711F85AE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B1BCB078-E3E2-4D42-8199-4874325579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961A3D60-6C30-4644-91DF-BEEC5109B1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F348E325-407C-441C-B197-E60FC5A68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9F368039-5BAA-412B-A0CF-A7E83F9606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975679-7E40-4963-9C83-A613C95AA4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99238" y="6012655"/>
            <a:ext cx="3435350" cy="531812"/>
          </a:xfrm>
        </p:spPr>
        <p:txBody>
          <a:bodyPr anchor="ctr" anchorCtr="0"/>
          <a:lstStyle>
            <a:lvl1pPr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Presenter Name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7D42A3C6-0F61-41F7-B4CB-28E14C8D71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60000" y="6012655"/>
            <a:ext cx="1534575" cy="531812"/>
          </a:xfrm>
        </p:spPr>
        <p:txBody>
          <a:bodyPr anchor="ctr" anchorCtr="0"/>
          <a:lstStyle>
            <a:lvl1pPr algn="r"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January 01, 2020</a:t>
            </a:r>
          </a:p>
        </p:txBody>
      </p:sp>
    </p:spTree>
    <p:extLst>
      <p:ext uri="{BB962C8B-B14F-4D97-AF65-F5344CB8AC3E}">
        <p14:creationId xmlns:p14="http://schemas.microsoft.com/office/powerpoint/2010/main" val="35239900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r Team - 10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4C8F12B-D471-4524-A21D-E2E0C4A3A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203B0C-11E9-4FDC-A004-C78D9EB13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A96F96D-5B2A-4821-929C-693CE24507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54063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2C5BA96-5869-4596-91D0-7DD77C3EB1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4063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973D2E0-934B-41D5-82A0-62209386DE7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0658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A25A260C-231A-4C7D-AC21-2F7C4413A85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0658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C66A25ED-9F96-4CE8-9724-8845BA58AF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327253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52BC4897-BC53-48EB-A869-983B961BAEC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327253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7F9493D9-27E8-4C58-8C9A-BD758C433DA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613848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B1B0EC22-7FA4-4FEC-84D2-F2823D45EF7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613848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044B693C-2ED8-48BA-B28D-0F6D5403062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900444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374A221F-25BC-4324-A8A9-E1AE12AF1C7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900444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42ACEDA4-5C2A-4931-AC44-4B272EE3D58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54063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F760FFA7-619E-40DF-AC66-F5C11B33A9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4063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2CE14DD0-BB0E-4446-ABC6-6CFED7CDCB1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040658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71592548-EBE0-45EC-8256-9C52CC8304E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040658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Picture Placeholder 8">
            <a:extLst>
              <a:ext uri="{FF2B5EF4-FFF2-40B4-BE49-F238E27FC236}">
                <a16:creationId xmlns:a16="http://schemas.microsoft.com/office/drawing/2014/main" id="{EE677E7A-20A3-4078-9426-D487E58A945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5327253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E565FACF-CA40-43FE-A69B-85DF95209ED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327253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Picture Placeholder 8">
            <a:extLst>
              <a:ext uri="{FF2B5EF4-FFF2-40B4-BE49-F238E27FC236}">
                <a16:creationId xmlns:a16="http://schemas.microsoft.com/office/drawing/2014/main" id="{29F613E7-EBD7-4FE9-B4BD-EC08FA1677FF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7613848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73B69718-9FDD-4EF4-BF7F-2D4BFA41DEA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613848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Picture Placeholder 8">
            <a:extLst>
              <a:ext uri="{FF2B5EF4-FFF2-40B4-BE49-F238E27FC236}">
                <a16:creationId xmlns:a16="http://schemas.microsoft.com/office/drawing/2014/main" id="{F9657D82-B2B7-42EE-A283-C05595EE506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900444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98492975-1781-40CF-AD27-B854895CB94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900444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42758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r Team Dark - Her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7A85A9E-2A2D-433F-BD91-82053E5A19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43650" y="0"/>
            <a:ext cx="58483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272087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4C8F12B-D471-4524-A21D-E2E0C4A3A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203B0C-11E9-4FDC-A004-C78D9EB13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97D1946-A27B-43F9-B00A-FC4DE83AD0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0063" y="3091180"/>
            <a:ext cx="5272087" cy="2755582"/>
          </a:xfrm>
        </p:spPr>
        <p:txBody>
          <a:bodyPr spcCol="540000"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0678756-BBF3-439F-ADEE-A76D2E9A1370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0063" y="2019945"/>
            <a:ext cx="5272087" cy="786765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buNone/>
              <a:defRPr sz="2000" b="1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63198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r Team Dark - 4 Peo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4C8F12B-D471-4524-A21D-E2E0C4A3A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203B0C-11E9-4FDC-A004-C78D9EB13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42ACEDA4-5C2A-4931-AC44-4B272EE3D58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00062" y="2539729"/>
            <a:ext cx="2547937" cy="2671005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F760FFA7-619E-40DF-AC66-F5C11B33A9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00063" y="5312999"/>
            <a:ext cx="2547936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CD369C5-DA54-4EC8-A861-59B2E550C75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0063" y="1459594"/>
            <a:ext cx="5799137" cy="844899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Picture Placeholder 8">
            <a:extLst>
              <a:ext uri="{FF2B5EF4-FFF2-40B4-BE49-F238E27FC236}">
                <a16:creationId xmlns:a16="http://schemas.microsoft.com/office/drawing/2014/main" id="{B5446C24-2D9C-42B4-901E-1052A1C6C28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381374" y="2539729"/>
            <a:ext cx="2547937" cy="2671005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7CB72C08-8293-4857-B537-E62B2714B7F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81375" y="5312999"/>
            <a:ext cx="2547936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3" name="Picture Placeholder 8">
            <a:extLst>
              <a:ext uri="{FF2B5EF4-FFF2-40B4-BE49-F238E27FC236}">
                <a16:creationId xmlns:a16="http://schemas.microsoft.com/office/drawing/2014/main" id="{2A475AAB-A6A9-4D28-90C7-B96351B827EF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262686" y="2539729"/>
            <a:ext cx="2547937" cy="2671005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2C717BB1-0365-4267-8343-54A47BB3B84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62687" y="5312999"/>
            <a:ext cx="2547936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5" name="Picture Placeholder 8">
            <a:extLst>
              <a:ext uri="{FF2B5EF4-FFF2-40B4-BE49-F238E27FC236}">
                <a16:creationId xmlns:a16="http://schemas.microsoft.com/office/drawing/2014/main" id="{52CFDD9E-D8C9-4A66-B0BF-B1F5FECE10A7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143999" y="2539729"/>
            <a:ext cx="2547937" cy="2671005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7291B81A-9C50-4F49-A41B-441287B3D49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144000" y="5312999"/>
            <a:ext cx="2547936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402465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r Team Dark - 10 Peo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4C8F12B-D471-4524-A21D-E2E0C4A3A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203B0C-11E9-4FDC-A004-C78D9EB13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A96F96D-5B2A-4821-929C-693CE24507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54063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2C5BA96-5869-4596-91D0-7DD77C3EB1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4063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973D2E0-934B-41D5-82A0-62209386DE7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0658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A25A260C-231A-4C7D-AC21-2F7C4413A85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0658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C66A25ED-9F96-4CE8-9724-8845BA58AF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327253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52BC4897-BC53-48EB-A869-983B961BAEC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327253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7F9493D9-27E8-4C58-8C9A-BD758C433DA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613848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B1B0EC22-7FA4-4FEC-84D2-F2823D45EF7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613848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044B693C-2ED8-48BA-B28D-0F6D5403062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900444" y="1520826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374A221F-25BC-4324-A8A9-E1AE12AF1C7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900444" y="3122612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42ACEDA4-5C2A-4931-AC44-4B272EE3D58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54063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F760FFA7-619E-40DF-AC66-F5C11B33A9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4063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2CE14DD0-BB0E-4446-ABC6-6CFED7CDCB1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040658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71592548-EBE0-45EC-8256-9C52CC8304E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040658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Picture Placeholder 8">
            <a:extLst>
              <a:ext uri="{FF2B5EF4-FFF2-40B4-BE49-F238E27FC236}">
                <a16:creationId xmlns:a16="http://schemas.microsoft.com/office/drawing/2014/main" id="{EE677E7A-20A3-4078-9426-D487E58A945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5327253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E565FACF-CA40-43FE-A69B-85DF95209ED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327253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Picture Placeholder 8">
            <a:extLst>
              <a:ext uri="{FF2B5EF4-FFF2-40B4-BE49-F238E27FC236}">
                <a16:creationId xmlns:a16="http://schemas.microsoft.com/office/drawing/2014/main" id="{29F613E7-EBD7-4FE9-B4BD-EC08FA1677FF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7613848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73B69718-9FDD-4EF4-BF7F-2D4BFA41DEA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613848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Picture Placeholder 8">
            <a:extLst>
              <a:ext uri="{FF2B5EF4-FFF2-40B4-BE49-F238E27FC236}">
                <a16:creationId xmlns:a16="http://schemas.microsoft.com/office/drawing/2014/main" id="{F9657D82-B2B7-42EE-A283-C05595EE506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900444" y="3814083"/>
            <a:ext cx="1529556" cy="1530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98492975-1781-40CF-AD27-B854895CB94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900444" y="5415869"/>
            <a:ext cx="1530000" cy="6120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096720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oid layou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sz="11500" b="0" i="0" spc="100">
                <a:solidFill>
                  <a:srgbClr val="FFFFFF"/>
                </a:solidFill>
                <a:latin typeface="+mj-lt"/>
              </a:rPr>
              <a:t>FACTOID</a:t>
            </a:r>
            <a:br>
              <a:rPr sz="11500" b="0" i="0" spc="100">
                <a:solidFill>
                  <a:srgbClr val="FFFFFF"/>
                </a:solidFill>
                <a:latin typeface="+mj-lt"/>
              </a:rPr>
            </a:br>
            <a:r>
              <a:rPr sz="11500" b="0" i="0" spc="100">
                <a:solidFill>
                  <a:srgbClr val="FFFFFF"/>
                </a:solidFill>
                <a:latin typeface="+mj-lt"/>
              </a:rPr>
              <a:t>LAYOU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0C9D3A-9A1A-C140-B0F7-9A8C63C4D4BD}"/>
              </a:ext>
            </a:extLst>
          </p:cNvPr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sz="1100" b="0" i="0" kern="1200">
                <a:solidFill>
                  <a:schemeClr val="bg1">
                    <a:lumMod val="85000"/>
                  </a:schemeClr>
                </a:solidFill>
                <a:effectLst/>
                <a:latin typeface="+mn-lt"/>
                <a:ea typeface="+mn-ea"/>
                <a:cs typeface="+mn-cs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67830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hree Content Factoi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00063" y="4114455"/>
            <a:ext cx="3600000" cy="1462432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314825" y="4114455"/>
            <a:ext cx="3600000" cy="1462432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1ECDB9F2-27F4-42DB-89BF-A79294975B4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29587" y="4114455"/>
            <a:ext cx="3600000" cy="1462432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/>
            </a:lvl1pPr>
            <a:lvl2pPr>
              <a:lnSpc>
                <a:spcPct val="100000"/>
              </a:lnSpc>
              <a:spcBef>
                <a:spcPts val="300"/>
              </a:spcBef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22F74907-9901-41D8-B02E-D5156ACAC59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CD76F14-B7C1-4783-A9BB-4763BFA8875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3466A7-5C27-FB4B-A9B7-F2C26253EB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766807" y="2297705"/>
            <a:ext cx="2333257" cy="1015663"/>
          </a:xfrm>
        </p:spPr>
        <p:txBody>
          <a:bodyPr wrap="square" lIns="9144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6600" b="0"/>
            </a:lvl1pPr>
          </a:lstStyle>
          <a:p>
            <a:pPr lvl="0"/>
            <a:r>
              <a:t>%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ED17EED-3308-4541-A822-15FAE18955B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581569" y="2297705"/>
            <a:ext cx="2333257" cy="1015663"/>
          </a:xfrm>
        </p:spPr>
        <p:txBody>
          <a:bodyPr wrap="square" lIns="9144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6600" b="0"/>
            </a:lvl1pPr>
          </a:lstStyle>
          <a:p>
            <a:pPr lvl="0"/>
            <a:r>
              <a:t>%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4A96E43C-B7E0-154D-928D-2D6554629D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96331" y="2297705"/>
            <a:ext cx="2333257" cy="1015663"/>
          </a:xfrm>
        </p:spPr>
        <p:txBody>
          <a:bodyPr wrap="square" lIns="9144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6600" b="0"/>
            </a:lvl1pPr>
          </a:lstStyle>
          <a:p>
            <a:pPr lvl="0"/>
            <a:r>
              <a:t>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47CD0EF-8E5D-2D41-8F67-55AB7DD0D3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00063" y="3442718"/>
            <a:ext cx="3600001" cy="437707"/>
          </a:xfrm>
        </p:spPr>
        <p:txBody>
          <a:bodyPr/>
          <a:lstStyle>
            <a:lvl1pPr algn="l">
              <a:lnSpc>
                <a:spcPct val="100000"/>
              </a:lnSpc>
              <a:spcBef>
                <a:spcPts val="0"/>
              </a:spcBef>
              <a:defRPr>
                <a:latin typeface="+mn-lt"/>
              </a:defRPr>
            </a:lvl1pPr>
          </a:lstStyle>
          <a:p>
            <a:pPr lvl="0"/>
            <a:r>
              <a:t>Click to edit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84E232DE-FB30-7A4D-8EFE-C85FE3966F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14825" y="3442718"/>
            <a:ext cx="3600001" cy="437707"/>
          </a:xfrm>
        </p:spPr>
        <p:txBody>
          <a:bodyPr/>
          <a:lstStyle>
            <a:lvl1pPr algn="l">
              <a:lnSpc>
                <a:spcPct val="100000"/>
              </a:lnSpc>
              <a:spcBef>
                <a:spcPts val="0"/>
              </a:spcBef>
              <a:defRPr>
                <a:latin typeface="+mn-lt"/>
              </a:defRPr>
            </a:lvl1pPr>
          </a:lstStyle>
          <a:p>
            <a:pPr lvl="0"/>
            <a:r>
              <a:t>Click to edit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C246C962-1982-D940-AA37-FB42992581E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29587" y="3442718"/>
            <a:ext cx="3600001" cy="437707"/>
          </a:xfrm>
        </p:spPr>
        <p:txBody>
          <a:bodyPr/>
          <a:lstStyle>
            <a:lvl1pPr algn="l">
              <a:lnSpc>
                <a:spcPct val="100000"/>
              </a:lnSpc>
              <a:spcBef>
                <a:spcPts val="0"/>
              </a:spcBef>
              <a:defRPr>
                <a:latin typeface="+mn-lt"/>
              </a:defRPr>
            </a:lvl1pPr>
          </a:lstStyle>
          <a:p>
            <a:pPr lvl="0"/>
            <a:r>
              <a:t>Click to edit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7EA9A68-3FBC-3F4C-AE89-71FF266DFE0F}"/>
              </a:ext>
            </a:extLst>
          </p:cNvPr>
          <p:cNvCxnSpPr/>
          <p:nvPr/>
        </p:nvCxnSpPr>
        <p:spPr>
          <a:xfrm>
            <a:off x="500063" y="4011431"/>
            <a:ext cx="3562351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F8F4C37-1564-3B49-963B-D00CE6E6D3C3}"/>
              </a:ext>
            </a:extLst>
          </p:cNvPr>
          <p:cNvCxnSpPr/>
          <p:nvPr/>
        </p:nvCxnSpPr>
        <p:spPr>
          <a:xfrm>
            <a:off x="4314825" y="4011431"/>
            <a:ext cx="3562351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32FBDEC-DE67-C947-9CA4-9221B88C13AF}"/>
              </a:ext>
            </a:extLst>
          </p:cNvPr>
          <p:cNvCxnSpPr/>
          <p:nvPr/>
        </p:nvCxnSpPr>
        <p:spPr>
          <a:xfrm>
            <a:off x="8129587" y="4011431"/>
            <a:ext cx="3562351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8FE007-71EE-2D4F-9C43-7160ECB26BE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608551" y="2380750"/>
            <a:ext cx="1051560" cy="832104"/>
          </a:xfrm>
        </p:spPr>
        <p:txBody>
          <a:bodyPr/>
          <a:lstStyle>
            <a:lvl1pPr>
              <a:defRPr sz="1200" b="0"/>
            </a:lvl1pPr>
          </a:lstStyle>
          <a:p>
            <a:pPr lvl="0"/>
            <a:r>
              <a:t>Content</a:t>
            </a:r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92D3070B-4574-2D46-919B-7C1552502676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421521" y="2380750"/>
            <a:ext cx="1051560" cy="832104"/>
          </a:xfrm>
        </p:spPr>
        <p:txBody>
          <a:bodyPr/>
          <a:lstStyle>
            <a:lvl1pPr>
              <a:defRPr sz="1200" b="0"/>
            </a:lvl1pPr>
          </a:lstStyle>
          <a:p>
            <a:pPr lvl="0"/>
            <a:r>
              <a:t>Content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484E6720-3CF5-0F48-B188-D3C019E7BE66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8238075" y="2380750"/>
            <a:ext cx="1051560" cy="832104"/>
          </a:xfrm>
        </p:spPr>
        <p:txBody>
          <a:bodyPr/>
          <a:lstStyle>
            <a:lvl1pPr>
              <a:defRPr sz="1200" b="0"/>
            </a:lvl1pPr>
          </a:lstStyle>
          <a:p>
            <a:pPr lvl="0"/>
            <a:r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761158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llustration with Facto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22F74907-9901-41D8-B02E-D5156ACAC59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CD76F14-B7C1-4783-A9BB-4763BFA8875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3466A7-5C27-FB4B-A9B7-F2C26253EB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95799" y="2661861"/>
            <a:ext cx="5344954" cy="923330"/>
          </a:xfrm>
        </p:spPr>
        <p:txBody>
          <a:bodyPr wrap="square" lIns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6000" b="0"/>
            </a:lvl1pPr>
          </a:lstStyle>
          <a:p>
            <a:pPr lvl="0"/>
            <a:r>
              <a:t>Click to edi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47CD0EF-8E5D-2D41-8F67-55AB7DD0D3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95800" y="3637927"/>
            <a:ext cx="5344954" cy="1100547"/>
          </a:xfrm>
        </p:spPr>
        <p:txBody>
          <a:bodyPr lIns="0"/>
          <a:lstStyle>
            <a:lvl1pPr algn="l">
              <a:lnSpc>
                <a:spcPct val="100000"/>
              </a:lnSpc>
              <a:spcBef>
                <a:spcPts val="0"/>
              </a:spcBef>
              <a:defRPr sz="1800" b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3AED009-9A6B-3C46-8DBC-C47FFB4586AF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174489" y="2483443"/>
            <a:ext cx="2210344" cy="2354581"/>
          </a:xfrm>
        </p:spPr>
        <p:txBody>
          <a:bodyPr/>
          <a:lstStyle>
            <a:lvl1pPr>
              <a:defRPr sz="1200" b="0"/>
            </a:lvl1pPr>
          </a:lstStyle>
          <a:p>
            <a:pPr lvl="0"/>
            <a:r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1263105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llustration with Factoid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0A5685-ADC9-4197-AAEB-665323328B34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C23BE928-69FE-1A4A-815A-A8E605AA498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34615" y="1041400"/>
            <a:ext cx="5157323" cy="484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5EE7C6A-85A2-5D4F-B0CF-D40F227A6FE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0063" y="2412005"/>
            <a:ext cx="5095874" cy="923330"/>
          </a:xfrm>
        </p:spPr>
        <p:txBody>
          <a:bodyPr wrap="square" lIns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6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t>Click to edi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6F3E38C-204B-FB48-A789-CED878B5326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0064" y="3388071"/>
            <a:ext cx="5095874" cy="1445421"/>
          </a:xfrm>
        </p:spPr>
        <p:txBody>
          <a:bodyPr lIns="0"/>
          <a:lstStyle>
            <a:lvl1pPr algn="l">
              <a:lnSpc>
                <a:spcPct val="100000"/>
              </a:lnSpc>
              <a:spcBef>
                <a:spcPts val="0"/>
              </a:spcBef>
              <a:defRPr sz="1800" b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3701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oid Split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33A7F6AC-2D36-EA4B-9F5B-00305F9EAB16}"/>
              </a:ext>
            </a:extLst>
          </p:cNvPr>
          <p:cNvSpPr/>
          <p:nvPr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D2E75D1-50C8-A44B-85EE-80C0B5736536}"/>
              </a:ext>
            </a:extLst>
          </p:cNvPr>
          <p:cNvSpPr/>
          <p:nvPr/>
        </p:nvSpPr>
        <p:spPr>
          <a:xfrm>
            <a:off x="6096000" y="0"/>
            <a:ext cx="6096000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32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DF938D9-FDBF-4E2E-9864-B9A3DEB81AA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3F92F295-8332-4AF1-945C-EF34A8F3D0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1AA52CFB-7227-B94E-A04F-5E3794B0F8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00064" y="2350522"/>
            <a:ext cx="5095874" cy="2254135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 b="0">
                <a:latin typeface="+mn-lt"/>
              </a:defRPr>
            </a:lvl1pPr>
          </a:lstStyle>
          <a:p>
            <a:pPr lvl="0"/>
            <a:r>
              <a:t>Click to edit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F5A3AB30-CF44-7248-A3D3-3F5409CF34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35700" y="1235904"/>
            <a:ext cx="2863693" cy="1231106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8000" b="0">
                <a:solidFill>
                  <a:schemeClr val="bg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703B6F5A-60F0-DC4B-A37F-01DBA21C5CB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3204" y="1415428"/>
            <a:ext cx="2458733" cy="837118"/>
          </a:xfrm>
        </p:spPr>
        <p:txBody>
          <a:bodyPr lIns="91440" anchor="ctr" anchorCtr="0"/>
          <a:lstStyle>
            <a:lvl1pPr algn="l">
              <a:lnSpc>
                <a:spcPct val="100000"/>
              </a:lnSpc>
              <a:spcBef>
                <a:spcPts val="0"/>
              </a:spcBef>
              <a:defRPr sz="14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t>Click to edi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956821E9-8772-804F-B6CD-FF23B856CA86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7667546" y="3801447"/>
            <a:ext cx="2937214" cy="2090868"/>
          </a:xfrm>
        </p:spPr>
        <p:txBody>
          <a:bodyPr/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17326657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ght Numbered F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22F74907-9901-41D8-B02E-D5156ACAC59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CD76F14-B7C1-4783-A9BB-4763BFA8875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1866E3A-7DEB-5C4E-8324-44DAFB7110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9032" y="2645919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2203A6C8-48F7-4D4E-AD85-EAA8F99930F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99034" y="2009049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54" name="Text Placeholder 10">
            <a:extLst>
              <a:ext uri="{FF2B5EF4-FFF2-40B4-BE49-F238E27FC236}">
                <a16:creationId xmlns:a16="http://schemas.microsoft.com/office/drawing/2014/main" id="{CF2CF0DB-CDB9-1C4A-8839-F41C532D5CB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03870" y="2009049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55" name="Text Placeholder 10">
            <a:extLst>
              <a:ext uri="{FF2B5EF4-FFF2-40B4-BE49-F238E27FC236}">
                <a16:creationId xmlns:a16="http://schemas.microsoft.com/office/drawing/2014/main" id="{AE28C0EB-3AAE-0047-9B43-726D44D9703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564953" y="2645919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B085BC16-2098-9147-A6CA-B4CD22B9ED7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64955" y="2009049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57" name="Text Placeholder 10">
            <a:extLst>
              <a:ext uri="{FF2B5EF4-FFF2-40B4-BE49-F238E27FC236}">
                <a16:creationId xmlns:a16="http://schemas.microsoft.com/office/drawing/2014/main" id="{9E61EAAA-A66E-D846-8EDA-9834B2616C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169791" y="2009049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288D383F-E969-DA4F-BE90-F15614FF248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355954" y="2643295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A40412F6-ABC2-824C-A321-7EB4158892A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55956" y="2006425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F8D29A9A-8DF4-7141-834D-BD93C48F105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960792" y="2006425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61" name="Text Placeholder 10">
            <a:extLst>
              <a:ext uri="{FF2B5EF4-FFF2-40B4-BE49-F238E27FC236}">
                <a16:creationId xmlns:a16="http://schemas.microsoft.com/office/drawing/2014/main" id="{843DE115-8C87-8344-8886-25A75BB8D9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087822" y="2645919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A7C507EF-6B56-8142-A1B5-703F7301FA5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087824" y="2009049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63" name="Text Placeholder 10">
            <a:extLst>
              <a:ext uri="{FF2B5EF4-FFF2-40B4-BE49-F238E27FC236}">
                <a16:creationId xmlns:a16="http://schemas.microsoft.com/office/drawing/2014/main" id="{047276DC-2172-434C-A123-1524D3E5DB8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692660" y="2009049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67" name="Text Placeholder 10">
            <a:extLst>
              <a:ext uri="{FF2B5EF4-FFF2-40B4-BE49-F238E27FC236}">
                <a16:creationId xmlns:a16="http://schemas.microsoft.com/office/drawing/2014/main" id="{CD273DAC-811D-1A48-B24F-1BEC6D6CAE3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99032" y="4578907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E22A3C03-E052-BE45-AB65-9153D3E5240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99034" y="3942037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69" name="Text Placeholder 10">
            <a:extLst>
              <a:ext uri="{FF2B5EF4-FFF2-40B4-BE49-F238E27FC236}">
                <a16:creationId xmlns:a16="http://schemas.microsoft.com/office/drawing/2014/main" id="{6D80D084-8BE0-AA45-9990-239C8C7054E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03870" y="3942037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70" name="Text Placeholder 10">
            <a:extLst>
              <a:ext uri="{FF2B5EF4-FFF2-40B4-BE49-F238E27FC236}">
                <a16:creationId xmlns:a16="http://schemas.microsoft.com/office/drawing/2014/main" id="{3D6EC247-3707-CF41-9AFF-46DCFF35B9C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564953" y="4578907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F712BE49-08EC-9644-BA42-E079E6F4B0A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564955" y="3942037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72" name="Text Placeholder 10">
            <a:extLst>
              <a:ext uri="{FF2B5EF4-FFF2-40B4-BE49-F238E27FC236}">
                <a16:creationId xmlns:a16="http://schemas.microsoft.com/office/drawing/2014/main" id="{BB6BD5CF-5783-3C4F-BF8D-B06E51A0EC61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169791" y="3942037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73" name="Text Placeholder 10">
            <a:extLst>
              <a:ext uri="{FF2B5EF4-FFF2-40B4-BE49-F238E27FC236}">
                <a16:creationId xmlns:a16="http://schemas.microsoft.com/office/drawing/2014/main" id="{89364852-4B67-BE4C-B32D-D6F4629D287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355954" y="4576283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EAB19194-3969-F64C-86BF-9B57D83CAF3B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355956" y="3939413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75" name="Text Placeholder 10">
            <a:extLst>
              <a:ext uri="{FF2B5EF4-FFF2-40B4-BE49-F238E27FC236}">
                <a16:creationId xmlns:a16="http://schemas.microsoft.com/office/drawing/2014/main" id="{49080CC3-7630-F140-9CF8-8794360A547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960792" y="3939413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76" name="Text Placeholder 10">
            <a:extLst>
              <a:ext uri="{FF2B5EF4-FFF2-40B4-BE49-F238E27FC236}">
                <a16:creationId xmlns:a16="http://schemas.microsoft.com/office/drawing/2014/main" id="{56852BAC-70A5-1D4E-BC18-FBEFD6D03BB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087822" y="4578907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259A7000-3C5E-BB43-A5AE-594FB6186AE2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087824" y="3942037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78" name="Text Placeholder 10">
            <a:extLst>
              <a:ext uri="{FF2B5EF4-FFF2-40B4-BE49-F238E27FC236}">
                <a16:creationId xmlns:a16="http://schemas.microsoft.com/office/drawing/2014/main" id="{771ABC88-66E2-FB42-807A-A13D16900BA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692660" y="3942037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</p:spTree>
    <p:extLst>
      <p:ext uri="{BB962C8B-B14F-4D97-AF65-F5344CB8AC3E}">
        <p14:creationId xmlns:p14="http://schemas.microsoft.com/office/powerpoint/2010/main" val="4089989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595937" cy="1080135"/>
          </a:xfrm>
        </p:spPr>
        <p:txBody>
          <a:bodyPr/>
          <a:lstStyle>
            <a:lvl1pPr>
              <a:defRPr sz="32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29268" y="474663"/>
            <a:ext cx="4362670" cy="5378450"/>
          </a:xfrm>
        </p:spPr>
        <p:txBody>
          <a:bodyPr/>
          <a:lstStyle>
            <a:lvl1pPr marL="0" indent="0"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4305300" algn="r"/>
              </a:tabLst>
              <a:defRPr sz="2000" b="0"/>
            </a:lvl1pPr>
            <a:lvl2pPr marL="0" indent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4305300" algn="r"/>
              </a:tabLst>
              <a:defRPr sz="1800" b="0"/>
            </a:lvl2pPr>
            <a:lvl3pPr marL="0" indent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tabLst>
                <a:tab pos="4305300" algn="r"/>
              </a:tabLst>
              <a:defRPr sz="1600" b="0"/>
            </a:lvl3pPr>
            <a:lvl4pPr marL="0" indent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tabLst>
                <a:tab pos="4305300" algn="r"/>
              </a:tabLst>
              <a:defRPr sz="1400" b="0"/>
            </a:lvl4pPr>
            <a:lvl5pPr marL="0" indent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tabLst>
                <a:tab pos="4305300" algn="r"/>
              </a:tabLst>
              <a:defRPr sz="12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8B7AA72-988A-4DB7-84B4-863A0BC657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1689F5B-F6CF-4099-BCDE-974FCFCCF9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979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ght Numbers Facts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2256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DF938D9-FDBF-4E2E-9864-B9A3DEB81AA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3F92F295-8332-4AF1-945C-EF34A8F3D0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B9A0D239-81E9-6647-BF62-476D7D0AE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9032" y="2645919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27B3718C-D3BC-0A4A-AB24-8E0527BD0BC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99034" y="2009049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EE3CF9FC-234B-B34A-AEED-DD9EA191F1E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03870" y="2009049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41D09DAB-1589-E34E-A510-555E37F2B14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564953" y="2645919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D0148C53-1352-2940-948D-748160CC579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64955" y="2009049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EBA9D11E-F868-C845-97E0-A54B829042E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169791" y="2009049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DAB052B3-0DA4-6A48-B41E-0E11CF17D0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355954" y="2643295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0FE77869-6ECC-DB4F-A3D0-18767E1BEBA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55956" y="2006425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2A7BAE2-7988-A84E-8577-17742D7D868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960792" y="2006425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1F637BFE-09A3-5441-9BA3-60AADA8A56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087822" y="2645919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FD3EC017-1E80-954A-BD2B-A8224CCBFE9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087824" y="2009049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D4AD2563-C182-174B-A94A-E5EA2C0B9741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692660" y="2009049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45AFD8F7-BBCE-974E-9799-7F97EABB126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99032" y="4578907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1049030-51FD-9B4C-9370-6D16E702C04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99034" y="3942037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10CB1AC8-5D47-6444-B4F6-244A3485DB9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03870" y="3942037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9E51DDB3-2697-2045-9C29-713A45B2EA1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564953" y="4578907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930A8F0C-8538-1A4C-9D42-4C76264FD4C2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564955" y="3942037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D281AB27-A235-4A44-B0D5-04A4A1D6662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169791" y="3942037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5B1D1191-6A82-3442-A392-EE6ED5417C2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355954" y="4576283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DA310A7C-745E-2C46-BF2C-CAE702280EDB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355956" y="3939413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A529FFF3-211A-4649-B80F-7080F4EF342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960792" y="3939413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89F1FE9B-2E3B-7046-88A0-6C5E57B9097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087822" y="4578907"/>
            <a:ext cx="2286595" cy="10175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B03A7643-78B5-2B4D-AD2C-2D9A2B1E603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087824" y="3942037"/>
            <a:ext cx="604836" cy="615553"/>
          </a:xfrm>
        </p:spPr>
        <p:txBody>
          <a:bodyPr wrap="square" lIns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t>#</a:t>
            </a:r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204CA410-10E1-0146-87AE-21BDA4ACECB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692660" y="3942037"/>
            <a:ext cx="1681759" cy="603504"/>
          </a:xfrm>
        </p:spPr>
        <p:txBody>
          <a:bodyPr lIns="91440" tIns="0" bIns="91440"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  <a:lvl2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200"/>
            </a:lvl2pPr>
          </a:lstStyle>
          <a:p>
            <a:pPr lvl="0"/>
            <a:r>
              <a:t>Click to edit Master</a:t>
            </a:r>
          </a:p>
        </p:txBody>
      </p:sp>
    </p:spTree>
    <p:extLst>
      <p:ext uri="{BB962C8B-B14F-4D97-AF65-F5344CB8AC3E}">
        <p14:creationId xmlns:p14="http://schemas.microsoft.com/office/powerpoint/2010/main" val="42914111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EA01E96-DFCE-8A47-95E4-C17CB5B7677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C4D158-65DE-0842-BD47-216B25C04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063" y="440482"/>
            <a:ext cx="4636713" cy="2800259"/>
          </a:xfrm>
        </p:spPr>
        <p:txBody>
          <a:bodyPr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A02E6C-722C-7048-BD48-797E23EE61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15BA52-1787-734E-AF70-5A45B094194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0621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Header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35141" y="446743"/>
            <a:ext cx="3778097" cy="269035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 lang="en-US"/>
            </a:br>
            <a:r>
              <a:t>style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91600" y="6477425"/>
            <a:ext cx="1952422" cy="180000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0A8629D5-1353-B143-9D56-3314F8FA1E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2624" y="3436642"/>
            <a:ext cx="3773609" cy="245271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4010998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35141" y="446743"/>
            <a:ext cx="3778097" cy="269035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 lang="en-US"/>
            </a:br>
            <a:r>
              <a:t>style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91600" y="6477425"/>
            <a:ext cx="1952422" cy="180000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0A8629D5-1353-B143-9D56-3314F8FA1E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2624" y="3436642"/>
            <a:ext cx="3773609" cy="245271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2579238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 5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35141" y="446743"/>
            <a:ext cx="3778097" cy="269035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/>
            </a:br>
            <a:r>
              <a:t>style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91600" y="6477425"/>
            <a:ext cx="1952422" cy="180000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2825" y="6477425"/>
            <a:ext cx="519112" cy="180000"/>
          </a:xfrm>
        </p:spPr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468D2047-5D6F-7C41-984A-AC9DD6F37A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2624" y="3436642"/>
            <a:ext cx="3773609" cy="245271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7365695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sz="11500" b="0" i="0" spc="100">
                <a:solidFill>
                  <a:srgbClr val="FFFFFF"/>
                </a:solidFill>
                <a:latin typeface="+mj-lt"/>
              </a:rPr>
              <a:t>END SLID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0C9D3A-9A1A-C140-B0F7-9A8C63C4D4BD}"/>
              </a:ext>
            </a:extLst>
          </p:cNvPr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sz="1100" b="0" i="0" kern="1200">
                <a:solidFill>
                  <a:schemeClr val="bg1">
                    <a:lumMod val="85000"/>
                  </a:schemeClr>
                </a:solidFill>
                <a:effectLst/>
                <a:latin typeface="+mn-lt"/>
                <a:ea typeface="+mn-ea"/>
                <a:cs typeface="+mn-cs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50316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with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D744DE2C-A424-4827-A247-97648814534C}"/>
              </a:ext>
            </a:extLst>
          </p:cNvPr>
          <p:cNvSpPr/>
          <p:nvPr/>
        </p:nvSpPr>
        <p:spPr>
          <a:xfrm>
            <a:off x="6095747" y="0"/>
            <a:ext cx="609625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4F442-ECB4-4EA4-AE95-53D8E965A64C}"/>
              </a:ext>
            </a:extLst>
          </p:cNvPr>
          <p:cNvSpPr/>
          <p:nvPr/>
        </p:nvSpPr>
        <p:spPr>
          <a:xfrm>
            <a:off x="0" y="0"/>
            <a:ext cx="6096000" cy="55839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5939" y="1983105"/>
            <a:ext cx="5454650" cy="184023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6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Type text here</a:t>
            </a:r>
          </a:p>
        </p:txBody>
      </p:sp>
      <p:grpSp>
        <p:nvGrpSpPr>
          <p:cNvPr id="15" name="asurion logo">
            <a:extLst>
              <a:ext uri="{FF2B5EF4-FFF2-40B4-BE49-F238E27FC236}">
                <a16:creationId xmlns:a16="http://schemas.microsoft.com/office/drawing/2014/main" id="{742C3EE8-5E66-4064-AD77-262ED2AF10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0" y="5995713"/>
            <a:ext cx="1527969" cy="354615"/>
            <a:chOff x="316" y="3952"/>
            <a:chExt cx="586" cy="136"/>
          </a:xfrm>
          <a:solidFill>
            <a:schemeClr val="tx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9EF3FF97-F9E4-4229-93B3-D336E320D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9D763D80-7D31-4C23-92B5-7AA5C7093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D0697A47-C99B-4053-ADFB-D711F85AE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B1BCB078-E3E2-4D42-8199-4874325579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961A3D60-6C30-4644-91DF-BEEC5109B1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F348E325-407C-441C-B197-E60FC5A68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9F368039-5BAA-412B-A0CF-A7E83F9606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13DAD560-03AB-9E4E-8F93-C72CEA1F86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3791" y="1048609"/>
            <a:ext cx="4957148" cy="5015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1213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5939" y="2245995"/>
            <a:ext cx="5454650" cy="184023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6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Type text here</a:t>
            </a:r>
          </a:p>
        </p:txBody>
      </p:sp>
      <p:grpSp>
        <p:nvGrpSpPr>
          <p:cNvPr id="15" name="asurion logo">
            <a:extLst>
              <a:ext uri="{FF2B5EF4-FFF2-40B4-BE49-F238E27FC236}">
                <a16:creationId xmlns:a16="http://schemas.microsoft.com/office/drawing/2014/main" id="{742C3EE8-5E66-4064-AD77-262ED2AF10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0" y="5995713"/>
            <a:ext cx="1527969" cy="354615"/>
            <a:chOff x="316" y="3952"/>
            <a:chExt cx="586" cy="136"/>
          </a:xfrm>
          <a:solidFill>
            <a:schemeClr val="tx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9EF3FF97-F9E4-4229-93B3-D336E320D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9D763D80-7D31-4C23-92B5-7AA5C7093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D0697A47-C99B-4053-ADFB-D711F85AE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B1BCB078-E3E2-4D42-8199-4874325579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961A3D60-6C30-4644-91DF-BEEC5109B1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F348E325-407C-441C-B197-E60FC5A68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9F368039-5BAA-412B-A0CF-A7E83F9606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6398002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of Layou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sz="11500" b="0" i="0" spc="100">
                <a:solidFill>
                  <a:srgbClr val="FFFFFF"/>
                </a:solidFill>
                <a:latin typeface="+mj-lt"/>
              </a:rPr>
              <a:t>DO NOT USE </a:t>
            </a:r>
            <a:br>
              <a:rPr sz="11500" b="0" i="0" spc="100">
                <a:solidFill>
                  <a:srgbClr val="FFFFFF"/>
                </a:solidFill>
                <a:latin typeface="+mj-lt"/>
              </a:rPr>
            </a:br>
            <a:r>
              <a:rPr sz="11500" b="0" i="0" spc="100">
                <a:solidFill>
                  <a:srgbClr val="FFFFFF"/>
                </a:solidFill>
                <a:latin typeface="+mj-lt"/>
              </a:rPr>
              <a:t>ANY</a:t>
            </a:r>
            <a:r>
              <a:rPr sz="11500" b="0" i="0" spc="100" baseline="0">
                <a:solidFill>
                  <a:srgbClr val="FFFFFF"/>
                </a:solidFill>
                <a:latin typeface="+mj-lt"/>
              </a:rPr>
              <a:t> LAYOUTS </a:t>
            </a:r>
            <a:br>
              <a:rPr sz="11500" b="0" i="0" spc="100" baseline="0">
                <a:solidFill>
                  <a:srgbClr val="FFFFFF"/>
                </a:solidFill>
                <a:latin typeface="+mj-lt"/>
              </a:rPr>
            </a:br>
            <a:r>
              <a:rPr sz="11500" b="0" i="0" spc="100" baseline="0">
                <a:solidFill>
                  <a:srgbClr val="FFFFFF"/>
                </a:solidFill>
                <a:latin typeface="+mj-lt"/>
              </a:rPr>
              <a:t>PAST THIS POINT</a:t>
            </a:r>
            <a:endParaRPr sz="11500" b="0" i="0" spc="10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0C9D3A-9A1A-C140-B0F7-9A8C63C4D4BD}"/>
              </a:ext>
            </a:extLst>
          </p:cNvPr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sz="1100" b="0" i="0" kern="1200">
                <a:solidFill>
                  <a:schemeClr val="bg1">
                    <a:lumMod val="85000"/>
                  </a:schemeClr>
                </a:solidFill>
                <a:effectLst/>
                <a:latin typeface="+mn-lt"/>
                <a:ea typeface="+mn-ea"/>
                <a:cs typeface="+mn-cs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12805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3F9B186-B379-43C9-BEFE-1C3220F80B34}"/>
              </a:ext>
            </a:extLst>
          </p:cNvPr>
          <p:cNvSpPr/>
          <p:nvPr/>
        </p:nvSpPr>
        <p:spPr>
          <a:xfrm>
            <a:off x="0" y="5598000"/>
            <a:ext cx="6096000" cy="126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4F442-ECB4-4EA4-AE95-53D8E965A64C}"/>
              </a:ext>
            </a:extLst>
          </p:cNvPr>
          <p:cNvSpPr/>
          <p:nvPr/>
        </p:nvSpPr>
        <p:spPr>
          <a:xfrm>
            <a:off x="6096000" y="5598000"/>
            <a:ext cx="6096000" cy="126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9" y="1591062"/>
            <a:ext cx="5454650" cy="2040664"/>
          </a:xfrm>
        </p:spPr>
        <p:txBody>
          <a:bodyPr anchor="b"/>
          <a:lstStyle>
            <a:lvl1pPr algn="l">
              <a:lnSpc>
                <a:spcPct val="90000"/>
              </a:lnSpc>
              <a:defRPr sz="5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4197011"/>
            <a:ext cx="4086542" cy="835704"/>
          </a:xfrm>
        </p:spPr>
        <p:txBody>
          <a:bodyPr/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15" name="asurion logo">
            <a:extLst>
              <a:ext uri="{FF2B5EF4-FFF2-40B4-BE49-F238E27FC236}">
                <a16:creationId xmlns:a16="http://schemas.microsoft.com/office/drawing/2014/main" id="{742C3EE8-5E66-4064-AD77-262ED2AF10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0" y="5995713"/>
            <a:ext cx="1527969" cy="354615"/>
            <a:chOff x="316" y="3952"/>
            <a:chExt cx="586" cy="136"/>
          </a:xfrm>
          <a:solidFill>
            <a:schemeClr val="bg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9EF3FF97-F9E4-4229-93B3-D336E320D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9D763D80-7D31-4C23-92B5-7AA5C7093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D0697A47-C99B-4053-ADFB-D711F85AE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B1BCB078-E3E2-4D42-8199-4874325579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961A3D60-6C30-4644-91DF-BEEC5109B1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F348E325-407C-441C-B197-E60FC5A68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9F368039-5BAA-412B-A0CF-A7E83F9606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975679-7E40-4963-9C83-A613C95AA4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99238" y="6012655"/>
            <a:ext cx="3435350" cy="531812"/>
          </a:xfrm>
        </p:spPr>
        <p:txBody>
          <a:bodyPr anchor="ctr" anchorCtr="0"/>
          <a:lstStyle>
            <a:lvl1pPr>
              <a:defRPr sz="140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7D42A3C6-0F61-41F7-B4CB-28E14C8D71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60000" y="6012655"/>
            <a:ext cx="1534575" cy="531812"/>
          </a:xfrm>
        </p:spPr>
        <p:txBody>
          <a:bodyPr anchor="ctr" anchorCtr="0"/>
          <a:lstStyle>
            <a:lvl1pPr algn="r">
              <a:defRPr sz="140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January 01, 2020</a:t>
            </a:r>
          </a:p>
        </p:txBody>
      </p:sp>
    </p:spTree>
    <p:extLst>
      <p:ext uri="{BB962C8B-B14F-4D97-AF65-F5344CB8AC3E}">
        <p14:creationId xmlns:p14="http://schemas.microsoft.com/office/powerpoint/2010/main" val="39927821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1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595937" cy="1080135"/>
          </a:xfrm>
        </p:spPr>
        <p:txBody>
          <a:bodyPr/>
          <a:lstStyle>
            <a:lvl1pPr>
              <a:defRPr sz="32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29268" y="474663"/>
            <a:ext cx="4362670" cy="5378450"/>
          </a:xfrm>
        </p:spPr>
        <p:txBody>
          <a:bodyPr/>
          <a:lstStyle>
            <a:lvl1pPr marL="0" indent="0"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4305300" algn="r"/>
              </a:tabLst>
              <a:defRPr sz="2000" b="0"/>
            </a:lvl1pPr>
            <a:lvl2pPr marL="0" indent="0"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4305300" algn="r"/>
              </a:tabLst>
              <a:defRPr sz="1800" b="0"/>
            </a:lvl2pPr>
            <a:lvl3pPr marL="0" indent="0">
              <a:spcBef>
                <a:spcPts val="900"/>
              </a:spcBef>
              <a:spcAft>
                <a:spcPts val="0"/>
              </a:spcAft>
              <a:buNone/>
              <a:tabLst>
                <a:tab pos="4305300" algn="r"/>
              </a:tabLst>
              <a:defRPr sz="1600" b="0"/>
            </a:lvl3pPr>
            <a:lvl4pPr marL="0" indent="0">
              <a:spcBef>
                <a:spcPts val="900"/>
              </a:spcBef>
              <a:spcAft>
                <a:spcPts val="0"/>
              </a:spcAft>
              <a:buNone/>
              <a:tabLst>
                <a:tab pos="4305300" algn="r"/>
              </a:tabLst>
              <a:defRPr sz="1400" b="0"/>
            </a:lvl4pPr>
            <a:lvl5pPr marL="0" indent="0">
              <a:spcBef>
                <a:spcPts val="900"/>
              </a:spcBef>
              <a:spcAft>
                <a:spcPts val="0"/>
              </a:spcAft>
              <a:buNone/>
              <a:tabLst>
                <a:tab pos="4305300" algn="r"/>
              </a:tabLst>
              <a:defRPr sz="12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09BD985-671E-4103-929F-7E66D95D9A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78CF779-080B-4B64-A94C-CC1E40B575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1509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FD35E0-3867-E04A-8640-AA0805EDF2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F11A7AF-1E8D-4744-B9AA-8E7743972E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56E92A-A00F-C949-AB64-4187BE6C5A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78039F-F584-F340-998B-1028F4CD2603}" type="datetimeFigureOut">
              <a:rPr lang="en-US" smtClean="0"/>
              <a:t>4/2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2C0F12-A0D9-284E-94CF-43B6F24695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4E46ED-A97B-A64B-B69A-538367B855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908561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Agenda, Section Layou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0DFA8-C5FE-DB44-9BF9-1274EAD5637C}" type="slidenum">
              <a:rPr/>
              <a:t>‹#›</a:t>
            </a:fld>
            <a:endParaRPr/>
          </a:p>
        </p:txBody>
      </p:sp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sz="11500" b="0" i="0" spc="100">
                <a:solidFill>
                  <a:srgbClr val="FFFFFF"/>
                </a:solidFill>
                <a:latin typeface="+mj-lt"/>
              </a:rPr>
              <a:t>TITLE, AGENDA, &amp; SECTION LAYOU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0C9D3A-9A1A-C140-B0F7-9A8C63C4D4BD}"/>
              </a:ext>
            </a:extLst>
          </p:cNvPr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sz="1100" b="0" i="0" kern="1200">
                <a:solidFill>
                  <a:schemeClr val="bg1">
                    <a:lumMod val="85000"/>
                  </a:schemeClr>
                </a:solidFill>
                <a:effectLst/>
                <a:latin typeface="+mn-lt"/>
                <a:ea typeface="+mn-ea"/>
                <a:cs typeface="+mn-cs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77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3F9B186-B379-43C9-BEFE-1C3220F80B34}"/>
              </a:ext>
            </a:extLst>
          </p:cNvPr>
          <p:cNvSpPr/>
          <p:nvPr/>
        </p:nvSpPr>
        <p:spPr>
          <a:xfrm>
            <a:off x="0" y="5598000"/>
            <a:ext cx="6096000" cy="126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4F442-ECB4-4EA4-AE95-53D8E965A64C}"/>
              </a:ext>
            </a:extLst>
          </p:cNvPr>
          <p:cNvSpPr/>
          <p:nvPr/>
        </p:nvSpPr>
        <p:spPr>
          <a:xfrm>
            <a:off x="6096000" y="5598000"/>
            <a:ext cx="6096000" cy="126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9" y="140677"/>
            <a:ext cx="5454650" cy="2453661"/>
          </a:xfrm>
        </p:spPr>
        <p:txBody>
          <a:bodyPr anchor="b"/>
          <a:lstStyle>
            <a:lvl1pPr algn="l">
              <a:lnSpc>
                <a:spcPct val="90000"/>
              </a:lnSpc>
              <a:defRPr sz="5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3022209"/>
            <a:ext cx="4086542" cy="2010506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15" name="asurion logo">
            <a:extLst>
              <a:ext uri="{FF2B5EF4-FFF2-40B4-BE49-F238E27FC236}">
                <a16:creationId xmlns:a16="http://schemas.microsoft.com/office/drawing/2014/main" id="{742C3EE8-5E66-4064-AD77-262ED2AF10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0" y="5995713"/>
            <a:ext cx="1527969" cy="354615"/>
            <a:chOff x="316" y="3952"/>
            <a:chExt cx="586" cy="136"/>
          </a:xfrm>
          <a:solidFill>
            <a:schemeClr val="bg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9EF3FF97-F9E4-4229-93B3-D336E320D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9D763D80-7D31-4C23-92B5-7AA5C7093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D0697A47-C99B-4053-ADFB-D711F85AE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B1BCB078-E3E2-4D42-8199-4874325579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961A3D60-6C30-4644-91DF-BEEC5109B1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F348E325-407C-441C-B197-E60FC5A68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9F368039-5BAA-412B-A0CF-A7E83F9606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975679-7E40-4963-9C83-A613C95AA4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99238" y="6012655"/>
            <a:ext cx="3435350" cy="531812"/>
          </a:xfrm>
        </p:spPr>
        <p:txBody>
          <a:bodyPr anchor="ctr" anchorCtr="0"/>
          <a:lstStyle>
            <a:lvl1pPr>
              <a:lnSpc>
                <a:spcPct val="100000"/>
              </a:lnSpc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Presenter Name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7D42A3C6-0F61-41F7-B4CB-28E14C8D71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60000" y="6012655"/>
            <a:ext cx="1534575" cy="531812"/>
          </a:xfrm>
        </p:spPr>
        <p:txBody>
          <a:bodyPr anchor="ctr" anchorCtr="0"/>
          <a:lstStyle>
            <a:lvl1pPr algn="r">
              <a:lnSpc>
                <a:spcPct val="100000"/>
              </a:lnSpc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January 01, 2020</a:t>
            </a:r>
          </a:p>
        </p:txBody>
      </p:sp>
    </p:spTree>
    <p:extLst>
      <p:ext uri="{BB962C8B-B14F-4D97-AF65-F5344CB8AC3E}">
        <p14:creationId xmlns:p14="http://schemas.microsoft.com/office/powerpoint/2010/main" val="4143786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3F9B186-B379-43C9-BEFE-1C3220F80B34}"/>
              </a:ext>
            </a:extLst>
          </p:cNvPr>
          <p:cNvSpPr/>
          <p:nvPr/>
        </p:nvSpPr>
        <p:spPr>
          <a:xfrm>
            <a:off x="0" y="5598000"/>
            <a:ext cx="6096000" cy="126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9" y="140677"/>
            <a:ext cx="5454650" cy="2453661"/>
          </a:xfrm>
        </p:spPr>
        <p:txBody>
          <a:bodyPr anchor="b"/>
          <a:lstStyle>
            <a:lvl1pPr algn="l">
              <a:lnSpc>
                <a:spcPct val="90000"/>
              </a:lnSpc>
              <a:defRPr sz="5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3022209"/>
            <a:ext cx="4086542" cy="2010506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15" name="asurion logo">
            <a:extLst>
              <a:ext uri="{FF2B5EF4-FFF2-40B4-BE49-F238E27FC236}">
                <a16:creationId xmlns:a16="http://schemas.microsoft.com/office/drawing/2014/main" id="{742C3EE8-5E66-4064-AD77-262ED2AF10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0" y="5995713"/>
            <a:ext cx="1527969" cy="354615"/>
            <a:chOff x="316" y="3952"/>
            <a:chExt cx="586" cy="136"/>
          </a:xfrm>
          <a:solidFill>
            <a:schemeClr val="bg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9EF3FF97-F9E4-4229-93B3-D336E320D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9D763D80-7D31-4C23-92B5-7AA5C7093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D0697A47-C99B-4053-ADFB-D711F85AE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B1BCB078-E3E2-4D42-8199-4874325579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961A3D60-6C30-4644-91DF-BEEC5109B1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F348E325-407C-441C-B197-E60FC5A68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9F368039-5BAA-412B-A0CF-A7E83F9606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975679-7E40-4963-9C83-A613C95AA4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99238" y="6012655"/>
            <a:ext cx="3435350" cy="531812"/>
          </a:xfrm>
        </p:spPr>
        <p:txBody>
          <a:bodyPr anchor="ctr" anchorCtr="0"/>
          <a:lstStyle>
            <a:lvl1pPr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Presenter Name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7D42A3C6-0F61-41F7-B4CB-28E14C8D71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60000" y="6012655"/>
            <a:ext cx="1534575" cy="531812"/>
          </a:xfrm>
        </p:spPr>
        <p:txBody>
          <a:bodyPr anchor="ctr" anchorCtr="0"/>
          <a:lstStyle>
            <a:lvl1pPr algn="r"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January 01, 2020</a:t>
            </a:r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885787FB-3228-2D4E-9952-0595A3D50DC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95" y="0"/>
            <a:ext cx="6099048" cy="6858000"/>
          </a:xfrm>
          <a:noFill/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7781919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D744DE2C-A424-4827-A247-97648814534C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4F442-ECB4-4EA4-AE95-53D8E965A64C}"/>
              </a:ext>
            </a:extLst>
          </p:cNvPr>
          <p:cNvSpPr/>
          <p:nvPr/>
        </p:nvSpPr>
        <p:spPr>
          <a:xfrm>
            <a:off x="6096000" y="5598000"/>
            <a:ext cx="6096000" cy="126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9" y="140677"/>
            <a:ext cx="5454650" cy="2453661"/>
          </a:xfrm>
        </p:spPr>
        <p:txBody>
          <a:bodyPr anchor="b"/>
          <a:lstStyle>
            <a:lvl1pPr algn="l">
              <a:lnSpc>
                <a:spcPct val="90000"/>
              </a:lnSpc>
              <a:defRPr sz="5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3022209"/>
            <a:ext cx="4086542" cy="2010506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15" name="asurion logo">
            <a:extLst>
              <a:ext uri="{FF2B5EF4-FFF2-40B4-BE49-F238E27FC236}">
                <a16:creationId xmlns:a16="http://schemas.microsoft.com/office/drawing/2014/main" id="{742C3EE8-5E66-4064-AD77-262ED2AF10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0" y="5995713"/>
            <a:ext cx="1527969" cy="354615"/>
            <a:chOff x="316" y="3952"/>
            <a:chExt cx="586" cy="136"/>
          </a:xfrm>
          <a:solidFill>
            <a:schemeClr val="tx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9EF3FF97-F9E4-4229-93B3-D336E320D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9D763D80-7D31-4C23-92B5-7AA5C7093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D0697A47-C99B-4053-ADFB-D711F85AE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B1BCB078-E3E2-4D42-8199-4874325579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961A3D60-6C30-4644-91DF-BEEC5109B1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F348E325-407C-441C-B197-E60FC5A68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9F368039-5BAA-412B-A0CF-A7E83F9606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975679-7E40-4963-9C83-A613C95AA4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99238" y="6012655"/>
            <a:ext cx="3435350" cy="531812"/>
          </a:xfrm>
        </p:spPr>
        <p:txBody>
          <a:bodyPr anchor="ctr" anchorCtr="0"/>
          <a:lstStyle>
            <a:lvl1pPr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Presenter Name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7D42A3C6-0F61-41F7-B4CB-28E14C8D71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60000" y="6012655"/>
            <a:ext cx="1534575" cy="531812"/>
          </a:xfrm>
        </p:spPr>
        <p:txBody>
          <a:bodyPr anchor="ctr" anchorCtr="0"/>
          <a:lstStyle>
            <a:lvl1pPr algn="r"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January 01, 2020</a:t>
            </a:r>
          </a:p>
        </p:txBody>
      </p:sp>
    </p:spTree>
    <p:extLst>
      <p:ext uri="{BB962C8B-B14F-4D97-AF65-F5344CB8AC3E}">
        <p14:creationId xmlns:p14="http://schemas.microsoft.com/office/powerpoint/2010/main" val="2404124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9FEFC07C-C691-5447-AEDC-FF4F067CF35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524" y="0"/>
            <a:ext cx="12188952" cy="5598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F9B186-B379-43C9-BEFE-1C3220F80B34}"/>
              </a:ext>
            </a:extLst>
          </p:cNvPr>
          <p:cNvSpPr/>
          <p:nvPr/>
        </p:nvSpPr>
        <p:spPr>
          <a:xfrm>
            <a:off x="0" y="5598000"/>
            <a:ext cx="6096000" cy="126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4F442-ECB4-4EA4-AE95-53D8E965A64C}"/>
              </a:ext>
            </a:extLst>
          </p:cNvPr>
          <p:cNvSpPr/>
          <p:nvPr/>
        </p:nvSpPr>
        <p:spPr>
          <a:xfrm>
            <a:off x="6096000" y="5598000"/>
            <a:ext cx="6096000" cy="12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9" y="140677"/>
            <a:ext cx="5454650" cy="2453661"/>
          </a:xfrm>
        </p:spPr>
        <p:txBody>
          <a:bodyPr anchor="b"/>
          <a:lstStyle>
            <a:lvl1pPr algn="l">
              <a:lnSpc>
                <a:spcPct val="90000"/>
              </a:lnSpc>
              <a:defRPr sz="5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3022209"/>
            <a:ext cx="4086542" cy="2010506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15" name="asurion logo">
            <a:extLst>
              <a:ext uri="{FF2B5EF4-FFF2-40B4-BE49-F238E27FC236}">
                <a16:creationId xmlns:a16="http://schemas.microsoft.com/office/drawing/2014/main" id="{742C3EE8-5E66-4064-AD77-262ED2AF10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0" y="5995713"/>
            <a:ext cx="1527969" cy="354615"/>
            <a:chOff x="316" y="3952"/>
            <a:chExt cx="586" cy="136"/>
          </a:xfrm>
          <a:solidFill>
            <a:schemeClr val="bg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9EF3FF97-F9E4-4229-93B3-D336E320D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9D763D80-7D31-4C23-92B5-7AA5C7093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D0697A47-C99B-4053-ADFB-D711F85AE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B1BCB078-E3E2-4D42-8199-4874325579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961A3D60-6C30-4644-91DF-BEEC5109B1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F348E325-407C-441C-B197-E60FC5A68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9F368039-5BAA-412B-A0CF-A7E83F9606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975679-7E40-4963-9C83-A613C95AA4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99238" y="6012655"/>
            <a:ext cx="3435350" cy="531812"/>
          </a:xfrm>
        </p:spPr>
        <p:txBody>
          <a:bodyPr anchor="ctr" anchorCtr="0"/>
          <a:lstStyle>
            <a:lvl1pPr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Presenter Name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7D42A3C6-0F61-41F7-B4CB-28E14C8D71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60000" y="6012655"/>
            <a:ext cx="1534575" cy="531812"/>
          </a:xfrm>
        </p:spPr>
        <p:txBody>
          <a:bodyPr anchor="ctr" anchorCtr="0"/>
          <a:lstStyle>
            <a:lvl1pPr algn="r"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400" b="0">
                <a:solidFill>
                  <a:schemeClr val="bg1"/>
                </a:solidFill>
                <a:latin typeface="+mn-lt"/>
              </a:defRPr>
            </a:lvl2pPr>
            <a:lvl3pPr>
              <a:defRPr sz="1400">
                <a:solidFill>
                  <a:schemeClr val="bg1"/>
                </a:solidFill>
                <a:latin typeface="+mn-lt"/>
              </a:defRPr>
            </a:lvl3pPr>
            <a:lvl4pPr>
              <a:defRPr sz="1400">
                <a:solidFill>
                  <a:schemeClr val="bg1"/>
                </a:solidFill>
                <a:latin typeface="+mn-lt"/>
              </a:defRPr>
            </a:lvl4pPr>
            <a:lvl5pP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t>January 01, 2020</a:t>
            </a:r>
          </a:p>
        </p:txBody>
      </p:sp>
    </p:spTree>
    <p:extLst>
      <p:ext uri="{BB962C8B-B14F-4D97-AF65-F5344CB8AC3E}">
        <p14:creationId xmlns:p14="http://schemas.microsoft.com/office/powerpoint/2010/main" val="20512402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595937" cy="1080135"/>
          </a:xfrm>
        </p:spPr>
        <p:txBody>
          <a:bodyPr/>
          <a:lstStyle>
            <a:lvl1pPr>
              <a:defRPr sz="32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29268" y="474663"/>
            <a:ext cx="4362670" cy="5378450"/>
          </a:xfrm>
        </p:spPr>
        <p:txBody>
          <a:bodyPr/>
          <a:lstStyle>
            <a:lvl1pPr marL="0" indent="0"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4305300" algn="r"/>
              </a:tabLst>
              <a:defRPr sz="2000" b="0"/>
            </a:lvl1pPr>
            <a:lvl2pPr marL="0" indent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4305300" algn="r"/>
              </a:tabLst>
              <a:defRPr sz="1800" b="0"/>
            </a:lvl2pPr>
            <a:lvl3pPr marL="0" indent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tabLst>
                <a:tab pos="4305300" algn="r"/>
              </a:tabLst>
              <a:defRPr sz="1600" b="0"/>
            </a:lvl3pPr>
            <a:lvl4pPr marL="0" indent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tabLst>
                <a:tab pos="4305300" algn="r"/>
              </a:tabLst>
              <a:defRPr sz="1400" b="0"/>
            </a:lvl4pPr>
            <a:lvl5pPr marL="0" indent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tabLst>
                <a:tab pos="4305300" algn="r"/>
              </a:tabLst>
              <a:defRPr sz="12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8B7AA72-988A-4DB7-84B4-863A0BC657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1689F5B-F6CF-4099-BCDE-974FCFCCF9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04013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1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595937" cy="1080135"/>
          </a:xfrm>
        </p:spPr>
        <p:txBody>
          <a:bodyPr/>
          <a:lstStyle>
            <a:lvl1pPr>
              <a:defRPr sz="32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29268" y="474663"/>
            <a:ext cx="4362670" cy="5378450"/>
          </a:xfrm>
        </p:spPr>
        <p:txBody>
          <a:bodyPr/>
          <a:lstStyle>
            <a:lvl1pPr marL="0" indent="0"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4305300" algn="r"/>
              </a:tabLst>
              <a:defRPr sz="2000" b="0"/>
            </a:lvl1pPr>
            <a:lvl2pPr marL="0" indent="0"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4305300" algn="r"/>
              </a:tabLst>
              <a:defRPr sz="1800" b="0"/>
            </a:lvl2pPr>
            <a:lvl3pPr marL="0" indent="0">
              <a:spcBef>
                <a:spcPts val="900"/>
              </a:spcBef>
              <a:spcAft>
                <a:spcPts val="0"/>
              </a:spcAft>
              <a:buNone/>
              <a:tabLst>
                <a:tab pos="4305300" algn="r"/>
              </a:tabLst>
              <a:defRPr sz="1600" b="0"/>
            </a:lvl3pPr>
            <a:lvl4pPr marL="0" indent="0">
              <a:spcBef>
                <a:spcPts val="900"/>
              </a:spcBef>
              <a:spcAft>
                <a:spcPts val="0"/>
              </a:spcAft>
              <a:buNone/>
              <a:tabLst>
                <a:tab pos="4305300" algn="r"/>
              </a:tabLst>
              <a:defRPr sz="1400" b="0"/>
            </a:lvl4pPr>
            <a:lvl5pPr marL="0" indent="0">
              <a:spcBef>
                <a:spcPts val="900"/>
              </a:spcBef>
              <a:spcAft>
                <a:spcPts val="0"/>
              </a:spcAft>
              <a:buNone/>
              <a:tabLst>
                <a:tab pos="4305300" algn="r"/>
              </a:tabLst>
              <a:defRPr sz="12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09BD985-671E-4103-929F-7E66D95D9A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78CF779-080B-4B64-A94C-CC1E40B575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796725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007754"/>
            <a:ext cx="11191875" cy="3930114"/>
          </a:xfrm>
        </p:spPr>
        <p:txBody>
          <a:bodyPr/>
          <a:lstStyle>
            <a:lvl1pPr>
              <a:spcBef>
                <a:spcPts val="900"/>
              </a:spcBef>
              <a:defRPr sz="2400"/>
            </a:lvl1pPr>
            <a:lvl2pPr>
              <a:spcBef>
                <a:spcPts val="900"/>
              </a:spcBef>
              <a:defRPr sz="24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231F20"/>
                </a:solidFill>
              </a:rPr>
              <a:t>Asurion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>
                <a:solidFill>
                  <a:srgbClr val="231F20"/>
                </a:solidFill>
              </a:rPr>
              <a:pPr/>
              <a:t>‹#›</a:t>
            </a:fld>
            <a:endParaRPr>
              <a:solidFill>
                <a:srgbClr val="231F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9756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2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007754"/>
            <a:ext cx="11191875" cy="3930114"/>
          </a:xfrm>
        </p:spPr>
        <p:txBody>
          <a:bodyPr/>
          <a:lstStyle>
            <a:lvl1pPr>
              <a:spcBef>
                <a:spcPts val="900"/>
              </a:spcBef>
              <a:defRPr sz="2400">
                <a:solidFill>
                  <a:schemeClr val="tx1"/>
                </a:solidFill>
              </a:defRPr>
            </a:lvl1pPr>
            <a:lvl2pPr>
              <a:spcBef>
                <a:spcPts val="900"/>
              </a:spcBef>
              <a:defRPr sz="24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t>Asurion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639029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007754"/>
            <a:ext cx="11191875" cy="3930114"/>
          </a:xfrm>
        </p:spPr>
        <p:txBody>
          <a:bodyPr/>
          <a:lstStyle>
            <a:lvl1pPr>
              <a:spcBef>
                <a:spcPts val="900"/>
              </a:spcBef>
              <a:defRPr sz="2400"/>
            </a:lvl1pPr>
            <a:lvl2pPr>
              <a:spcBef>
                <a:spcPts val="900"/>
              </a:spcBef>
              <a:defRPr sz="24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0604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9747BD37-3BEA-40D2-8343-2CB995B91822}"/>
              </a:ext>
            </a:extLst>
          </p:cNvPr>
          <p:cNvSpPr/>
          <p:nvPr/>
        </p:nvSpPr>
        <p:spPr>
          <a:xfrm>
            <a:off x="0" y="0"/>
            <a:ext cx="2286000" cy="17811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4C88EA-B1EA-4FA0-8279-C122B539260B}"/>
              </a:ext>
            </a:extLst>
          </p:cNvPr>
          <p:cNvSpPr/>
          <p:nvPr/>
        </p:nvSpPr>
        <p:spPr>
          <a:xfrm>
            <a:off x="0" y="1781175"/>
            <a:ext cx="2286000" cy="5076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781574" y="446744"/>
            <a:ext cx="6298925" cy="2147594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/>
            </a:br>
            <a:r>
              <a:t>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2789057" y="2762591"/>
            <a:ext cx="6291442" cy="67405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D17E435-7649-47BA-B3A0-AA4F57BBB1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2879" y="273607"/>
            <a:ext cx="1944810" cy="1428584"/>
          </a:xfrm>
        </p:spPr>
        <p:txBody>
          <a:bodyPr/>
          <a:lstStyle>
            <a:lvl1pPr algn="ctr">
              <a:spcBef>
                <a:spcPts val="0"/>
              </a:spcBef>
              <a:defRPr sz="8000" b="0">
                <a:solidFill>
                  <a:schemeClr val="bg1"/>
                </a:solidFill>
              </a:defRPr>
            </a:lvl1pPr>
          </a:lstStyle>
          <a:p>
            <a:pPr lvl="0"/>
            <a:r>
              <a:t>00</a:t>
            </a:r>
          </a:p>
        </p:txBody>
      </p:sp>
      <p:grpSp>
        <p:nvGrpSpPr>
          <p:cNvPr id="11" name="asurion logo">
            <a:extLst>
              <a:ext uri="{FF2B5EF4-FFF2-40B4-BE49-F238E27FC236}">
                <a16:creationId xmlns:a16="http://schemas.microsoft.com/office/drawing/2014/main" id="{A3635D92-5B65-2244-9F4A-197733B477F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1" y="6390186"/>
            <a:ext cx="918000" cy="213052"/>
            <a:chOff x="316" y="3952"/>
            <a:chExt cx="586" cy="136"/>
          </a:xfrm>
          <a:solidFill>
            <a:schemeClr val="bg1"/>
          </a:solidFill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B1F885A6-A84D-B844-8EE9-AD1C600D6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C9218EE1-3AC2-944C-A463-34EE6FAF23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9AAFFDFE-20B9-1A4C-BDD3-7E5C0F475D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D1C347CB-3AB6-2C40-9358-5826A5285D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9CF999C3-DB3C-4440-80E6-A0A67F465D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6B7765C3-5894-2748-B451-75EC0494E7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B723ACE3-78D1-A44F-9535-463CCF9DC8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1327128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9747BD37-3BEA-40D2-8343-2CB995B91822}"/>
              </a:ext>
            </a:extLst>
          </p:cNvPr>
          <p:cNvSpPr/>
          <p:nvPr/>
        </p:nvSpPr>
        <p:spPr>
          <a:xfrm>
            <a:off x="0" y="0"/>
            <a:ext cx="2286000" cy="17811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4C88EA-B1EA-4FA0-8279-C122B539260B}"/>
              </a:ext>
            </a:extLst>
          </p:cNvPr>
          <p:cNvSpPr/>
          <p:nvPr/>
        </p:nvSpPr>
        <p:spPr>
          <a:xfrm>
            <a:off x="0" y="1781175"/>
            <a:ext cx="2286000" cy="50768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781574" y="446744"/>
            <a:ext cx="6298925" cy="2147594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/>
            </a:br>
            <a:r>
              <a:t>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2789057" y="2762591"/>
            <a:ext cx="6291442" cy="67405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D17E435-7649-47BA-B3A0-AA4F57BBB1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2879" y="273607"/>
            <a:ext cx="1944810" cy="1428584"/>
          </a:xfrm>
        </p:spPr>
        <p:txBody>
          <a:bodyPr/>
          <a:lstStyle>
            <a:lvl1pPr algn="ctr">
              <a:spcBef>
                <a:spcPts val="0"/>
              </a:spcBef>
              <a:defRPr sz="8000" b="0">
                <a:solidFill>
                  <a:schemeClr val="bg1"/>
                </a:solidFill>
              </a:defRPr>
            </a:lvl1pPr>
          </a:lstStyle>
          <a:p>
            <a:pPr lvl="0"/>
            <a:r>
              <a:t>00</a:t>
            </a:r>
          </a:p>
        </p:txBody>
      </p:sp>
      <p:grpSp>
        <p:nvGrpSpPr>
          <p:cNvPr id="11" name="asurion logo">
            <a:extLst>
              <a:ext uri="{FF2B5EF4-FFF2-40B4-BE49-F238E27FC236}">
                <a16:creationId xmlns:a16="http://schemas.microsoft.com/office/drawing/2014/main" id="{FEC17685-B133-C345-A89F-A29C5966C31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1" y="6390186"/>
            <a:ext cx="918000" cy="213052"/>
            <a:chOff x="316" y="3952"/>
            <a:chExt cx="586" cy="136"/>
          </a:xfrm>
          <a:solidFill>
            <a:schemeClr val="bg1"/>
          </a:solidFill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1DA59301-3241-F348-BEBD-A6FFEADD16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239CCB2F-6595-5940-8A39-B3E30B1ABE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86BD6342-63E8-6241-9895-40B3FD18FD0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FF5FEC08-0FA6-3D4F-A889-0BBFE49D90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F318E898-1C1D-3046-88C4-16F050D7F0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9315519C-656E-724D-86B0-E6FFBFDFDB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81591244-1087-6E48-A901-C4FA89D203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9477171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9747BD37-3BEA-40D2-8343-2CB995B91822}"/>
              </a:ext>
            </a:extLst>
          </p:cNvPr>
          <p:cNvSpPr/>
          <p:nvPr/>
        </p:nvSpPr>
        <p:spPr>
          <a:xfrm>
            <a:off x="0" y="0"/>
            <a:ext cx="2286000" cy="17811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4C88EA-B1EA-4FA0-8279-C122B539260B}"/>
              </a:ext>
            </a:extLst>
          </p:cNvPr>
          <p:cNvSpPr/>
          <p:nvPr/>
        </p:nvSpPr>
        <p:spPr>
          <a:xfrm>
            <a:off x="0" y="1781175"/>
            <a:ext cx="2286000" cy="5076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781574" y="446744"/>
            <a:ext cx="6298925" cy="2147594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/>
            </a:br>
            <a:r>
              <a:t>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2789057" y="2762591"/>
            <a:ext cx="6291442" cy="67405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D17E435-7649-47BA-B3A0-AA4F57BBB1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2879" y="273607"/>
            <a:ext cx="1944810" cy="1428584"/>
          </a:xfrm>
        </p:spPr>
        <p:txBody>
          <a:bodyPr/>
          <a:lstStyle>
            <a:lvl1pPr algn="ctr">
              <a:spcBef>
                <a:spcPts val="0"/>
              </a:spcBef>
              <a:defRPr sz="8000" b="0">
                <a:solidFill>
                  <a:schemeClr val="bg1"/>
                </a:solidFill>
              </a:defRPr>
            </a:lvl1pPr>
          </a:lstStyle>
          <a:p>
            <a:pPr lvl="0"/>
            <a:r>
              <a:t>00</a:t>
            </a:r>
          </a:p>
        </p:txBody>
      </p:sp>
      <p:grpSp>
        <p:nvGrpSpPr>
          <p:cNvPr id="11" name="asurion logo">
            <a:extLst>
              <a:ext uri="{FF2B5EF4-FFF2-40B4-BE49-F238E27FC236}">
                <a16:creationId xmlns:a16="http://schemas.microsoft.com/office/drawing/2014/main" id="{C7358717-6715-9E44-A068-A7FC60CA96D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1" y="6390186"/>
            <a:ext cx="918000" cy="213052"/>
            <a:chOff x="316" y="3952"/>
            <a:chExt cx="586" cy="136"/>
          </a:xfrm>
          <a:solidFill>
            <a:schemeClr val="tx1"/>
          </a:solidFill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D3603A01-45DA-5A47-AD42-93373378A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AD2FF58D-2A25-9344-B27B-E66EF3E13A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47B47A3D-A2AE-B44B-9805-F10DDF88E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3ABE1799-2661-C346-88AD-D93AF4F49D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6DBBDC10-20A7-0643-A02A-86E0D5F830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1F1030EA-EEDA-3546-8BC7-FF764C45D49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2CB39BA2-CCB4-7C49-8EBE-81D3153223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6214713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A3B2CE-A3B3-4189-8B73-7FEBFEEA5D8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35141" y="446743"/>
            <a:ext cx="3778097" cy="269035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/>
            </a:br>
            <a:r>
              <a:t>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542624" y="3436643"/>
            <a:ext cx="3773609" cy="67405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grpSp>
        <p:nvGrpSpPr>
          <p:cNvPr id="11" name="asurion logo">
            <a:extLst>
              <a:ext uri="{FF2B5EF4-FFF2-40B4-BE49-F238E27FC236}">
                <a16:creationId xmlns:a16="http://schemas.microsoft.com/office/drawing/2014/main" id="{E1C5BE53-885F-4140-A2D0-795FBB7C123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1" y="6390186"/>
            <a:ext cx="918000" cy="213052"/>
            <a:chOff x="316" y="3952"/>
            <a:chExt cx="586" cy="136"/>
          </a:xfrm>
          <a:solidFill>
            <a:schemeClr val="tx1"/>
          </a:solidFill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188848DB-B87D-B041-A849-970DFD53FD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DCA25C55-1346-AA4E-B99A-B92DB24C92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24A4990-4E45-BE4E-8F5C-8D885585F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A0CCF30B-EF01-9241-89DE-6194C640FB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69220C85-DAA7-BC4E-818D-2170A0678C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56C6BD5A-A22D-1140-84E9-1700B1F47F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E4641BA2-7F1D-F94D-A723-FAF1B048BF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9269766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5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A3B2CE-A3B3-4189-8B73-7FEBFEEA5D8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35141" y="446743"/>
            <a:ext cx="3778097" cy="269035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t>Click to edit Master title </a:t>
            </a:r>
            <a:br>
              <a:rPr/>
            </a:br>
            <a:r>
              <a:t>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542624" y="3436643"/>
            <a:ext cx="3773609" cy="67405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801ECF7-ED14-487E-B2E6-FB13DE50C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BC3CDB-7A13-465F-9F51-87CE695D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grpSp>
        <p:nvGrpSpPr>
          <p:cNvPr id="13" name="asurion logo">
            <a:extLst>
              <a:ext uri="{FF2B5EF4-FFF2-40B4-BE49-F238E27FC236}">
                <a16:creationId xmlns:a16="http://schemas.microsoft.com/office/drawing/2014/main" id="{BE011928-E47D-2041-8C67-C22638984F3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1" y="6390186"/>
            <a:ext cx="918000" cy="213052"/>
            <a:chOff x="316" y="3952"/>
            <a:chExt cx="586" cy="136"/>
          </a:xfrm>
          <a:solidFill>
            <a:schemeClr val="tx1"/>
          </a:solidFill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4CB7B69E-B273-0D48-BFDA-34E192F321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95280FB1-5A13-EF43-8314-29BF259ABB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481AAD2C-29B4-EC49-9316-7FAF697253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27323948-8731-5143-A257-D33E8C0C08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D78202CB-9C9D-B64F-B9BB-DDB5A81A7D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F29FBD53-E2A2-3247-85DE-C8D45F947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98F56C5E-7A69-EC45-BF50-0515ECB63A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5273199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ayou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0DFA8-C5FE-DB44-9BF9-1274EAD5637C}" type="slidenum">
              <a:rPr/>
              <a:t>‹#›</a:t>
            </a:fld>
            <a:endParaRPr/>
          </a:p>
        </p:txBody>
      </p:sp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sz="11500" b="0" i="0" spc="100">
                <a:solidFill>
                  <a:srgbClr val="FFFFFF"/>
                </a:solidFill>
                <a:latin typeface="+mj-lt"/>
              </a:rPr>
              <a:t>CONTENT</a:t>
            </a:r>
            <a:br>
              <a:rPr sz="11500" b="0" i="0" spc="100">
                <a:solidFill>
                  <a:srgbClr val="FFFFFF"/>
                </a:solidFill>
                <a:latin typeface="+mj-lt"/>
              </a:rPr>
            </a:br>
            <a:r>
              <a:rPr sz="11500" b="0" i="0" spc="100">
                <a:solidFill>
                  <a:srgbClr val="FFFFFF"/>
                </a:solidFill>
                <a:latin typeface="+mj-lt"/>
              </a:rPr>
              <a:t>LAYOU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0C9D3A-9A1A-C140-B0F7-9A8C63C4D4BD}"/>
              </a:ext>
            </a:extLst>
          </p:cNvPr>
          <p:cNvSpPr txBox="1"/>
          <p:nvPr/>
        </p:nvSpPr>
        <p:spPr>
          <a:xfrm>
            <a:off x="2428504" y="6365140"/>
            <a:ext cx="733499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sz="1100" b="0" i="0" kern="1200">
                <a:solidFill>
                  <a:schemeClr val="bg1">
                    <a:lumMod val="85000"/>
                  </a:schemeClr>
                </a:solidFill>
                <a:effectLst/>
                <a:latin typeface="+mn-lt"/>
                <a:ea typeface="+mn-ea"/>
                <a:cs typeface="+mn-cs"/>
              </a:rPr>
              <a:t>Layouts past this point have been inherited from other files and may not be a part of the approved Asurion template.</a:t>
            </a:r>
            <a:endParaRPr sz="110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89694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17775"/>
            <a:ext cx="11191875" cy="3373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B1C1BA4-C831-4BAE-8902-D8B44C11CD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1BD78D5-7CB0-4BF0-A1E0-CDD8450211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32909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0951"/>
            <a:ext cx="11191875" cy="33702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231F20"/>
                </a:solidFill>
              </a:rPr>
              <a:t>Asurion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>
                <a:solidFill>
                  <a:srgbClr val="231F20"/>
                </a:solidFill>
              </a:rPr>
              <a:pPr/>
              <a:t>‹#›</a:t>
            </a:fld>
            <a:endParaRPr>
              <a:solidFill>
                <a:srgbClr val="231F20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639103-1054-48CB-9C4A-BC221A9D489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0063" y="1481655"/>
            <a:ext cx="11191874" cy="78676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0916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1698625"/>
            <a:ext cx="11191875" cy="4192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231F20"/>
                </a:solidFill>
              </a:rPr>
              <a:t>Asurion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>
                <a:solidFill>
                  <a:srgbClr val="231F20"/>
                </a:solidFill>
              </a:rPr>
              <a:pPr/>
              <a:t>‹#›</a:t>
            </a:fld>
            <a:endParaRPr>
              <a:solidFill>
                <a:srgbClr val="231F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866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0000"/>
            <a:ext cx="55959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231F20"/>
                </a:solidFill>
              </a:rPr>
              <a:t>Asurion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>
                <a:solidFill>
                  <a:srgbClr val="231F20"/>
                </a:solidFill>
              </a:rPr>
              <a:pPr/>
              <a:t>‹#›</a:t>
            </a:fld>
            <a:endParaRPr>
              <a:solidFill>
                <a:srgbClr val="231F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8204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2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007754"/>
            <a:ext cx="11191875" cy="3930114"/>
          </a:xfrm>
        </p:spPr>
        <p:txBody>
          <a:bodyPr/>
          <a:lstStyle>
            <a:lvl1pPr>
              <a:spcBef>
                <a:spcPts val="900"/>
              </a:spcBef>
              <a:defRPr sz="2400">
                <a:solidFill>
                  <a:schemeClr val="tx1"/>
                </a:solidFill>
              </a:defRPr>
            </a:lvl1pPr>
            <a:lvl2pPr>
              <a:spcBef>
                <a:spcPts val="900"/>
              </a:spcBef>
              <a:defRPr sz="24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6722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00063" y="2517775"/>
            <a:ext cx="5324400" cy="3373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6367537" y="2517775"/>
            <a:ext cx="5324400" cy="3373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5FB212-C07C-47E4-B111-95662FEA043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F383D8-C510-4C92-8A54-DA05FA7AFF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66826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0000"/>
            <a:ext cx="35893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1157396-66F3-4131-832E-DED0E7ABE71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01332" y="2520000"/>
            <a:ext cx="35893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0226DC9-EE88-4C38-BFC7-8CF1082EDBD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02601" y="2520000"/>
            <a:ext cx="35893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DF938D9-FDBF-4E2E-9864-B9A3DEB81AA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3F92F295-8332-4AF1-945C-EF34A8F3D0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09438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0000"/>
            <a:ext cx="25860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1157396-66F3-4131-832E-DED0E7ABE71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93269" y="2520000"/>
            <a:ext cx="25860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0226DC9-EE88-4C38-BFC7-8CF1082EDBD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86475" y="2520000"/>
            <a:ext cx="25860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DF938D9-FDBF-4E2E-9864-B9A3DEB81AA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3F92F295-8332-4AF1-945C-EF34A8F3D0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151B05AA-B42D-4FA0-948C-88C9B0D745D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879681" y="2520000"/>
            <a:ext cx="25860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02201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ne Content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0000"/>
            <a:ext cx="55959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5DBBB8B-648D-4197-97B9-AE71487D25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5924E6F-6328-463D-B419-65509C9FE4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959277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00063" y="2517775"/>
            <a:ext cx="5324400" cy="3373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6367537" y="2517775"/>
            <a:ext cx="5324400" cy="3373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5FB212-C07C-47E4-B111-95662FEA043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F383D8-C510-4C92-8A54-DA05FA7AFF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210289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ntent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0000"/>
            <a:ext cx="35893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1157396-66F3-4131-832E-DED0E7ABE71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01332" y="2520000"/>
            <a:ext cx="35893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0226DC9-EE88-4C38-BFC7-8CF1082EDBD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02601" y="2520000"/>
            <a:ext cx="35893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2DF5BAB-DC7D-4C2E-822E-C0828F8BD7F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C5A2B2A-4207-4088-8306-70D21909D81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790967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our Content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0000"/>
            <a:ext cx="25860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1157396-66F3-4131-832E-DED0E7ABE71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93269" y="2520000"/>
            <a:ext cx="25860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0226DC9-EE88-4C38-BFC7-8CF1082EDBD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86475" y="2520000"/>
            <a:ext cx="25860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DF938D9-FDBF-4E2E-9864-B9A3DEB81AA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3F92F295-8332-4AF1-945C-EF34A8F3D0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151B05AA-B42D-4FA0-948C-88C9B0D745D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879681" y="2520000"/>
            <a:ext cx="2586037" cy="3365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6236962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, Conten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0A5685-ADC9-4197-AAEB-665323328B34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5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3689"/>
            <a:ext cx="5056675" cy="3329423"/>
          </a:xfrm>
        </p:spPr>
        <p:txBody>
          <a:bodyPr spcCol="540000"/>
          <a:lstStyle>
            <a:lvl2pPr>
              <a:spcBef>
                <a:spcPts val="300"/>
              </a:spcBef>
              <a:defRPr/>
            </a:lvl2pPr>
            <a:lvl3pPr>
              <a:spcBef>
                <a:spcPts val="6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231F20"/>
                </a:solidFill>
              </a:rPr>
              <a:t>Asurion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3ACAB3-CA36-4966-8A1D-076772D39D8D}" type="slidenum">
              <a:rPr>
                <a:solidFill>
                  <a:srgbClr val="231F20"/>
                </a:solidFill>
              </a:rPr>
              <a:pPr/>
              <a:t>‹#›</a:t>
            </a:fld>
            <a:endParaRPr>
              <a:solidFill>
                <a:srgbClr val="231F20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639103-1054-48CB-9C4A-BC221A9D489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0063" y="1481655"/>
            <a:ext cx="5056675" cy="78676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275A3245-01FF-42DD-A6D1-85D456773FFD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499225" y="1041400"/>
            <a:ext cx="5192713" cy="4849813"/>
          </a:xfrm>
        </p:spPr>
        <p:txBody>
          <a:bodyPr/>
          <a:lstStyle/>
          <a:p>
            <a:r>
              <a:rPr lang="en-US"/>
              <a:t>Click icon to add chart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561497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, Content and Char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0A5685-ADC9-4197-AAEB-665323328B34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>
            <a:lvl1pPr>
              <a:defRPr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3689"/>
            <a:ext cx="5056675" cy="3329423"/>
          </a:xfrm>
        </p:spPr>
        <p:txBody>
          <a:bodyPr numCol="1" spcCol="540000"/>
          <a:lstStyle>
            <a:lvl2pPr>
              <a:spcBef>
                <a:spcPts val="300"/>
              </a:spcBef>
              <a:defRPr/>
            </a:lvl2pPr>
            <a:lvl3pPr>
              <a:spcBef>
                <a:spcPts val="6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t>Asurion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639103-1054-48CB-9C4A-BC221A9D489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0063" y="1481655"/>
            <a:ext cx="5056675" cy="78676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275A3245-01FF-42DD-A6D1-85D456773FFD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499225" y="1041400"/>
            <a:ext cx="5192713" cy="484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044097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3800CAF-8C92-4417-9180-874FBE367E0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</p:spPr>
        <p:txBody>
          <a:bodyPr anchor="ctr"/>
          <a:lstStyle/>
          <a:p>
            <a:r>
              <a:rPr lang="en-US"/>
              <a:t>Click to add image&gt;</a:t>
            </a: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5056675" cy="1080135"/>
          </a:xfrm>
        </p:spPr>
        <p:txBody>
          <a:bodyPr/>
          <a:lstStyle>
            <a:lvl1pPr>
              <a:defRPr sz="32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2523689"/>
            <a:ext cx="5056675" cy="3329423"/>
          </a:xfrm>
        </p:spPr>
        <p:txBody>
          <a:bodyPr spcCol="540000"/>
          <a:lstStyle>
            <a:lvl2pPr>
              <a:spcBef>
                <a:spcPts val="300"/>
              </a:spcBef>
              <a:defRPr/>
            </a:lvl2pPr>
            <a:lvl3pPr>
              <a:spcBef>
                <a:spcPts val="6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639103-1054-48CB-9C4A-BC221A9D489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0063" y="1481655"/>
            <a:ext cx="5056675" cy="78676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06CD7DF-C4F2-B049-BE3C-8BD9236EDF6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t>Asurion Internal Use Only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6B3E6E2-23A9-4B4F-A714-771A9FF980F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91322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71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96.xml"/><Relationship Id="rId21" Type="http://schemas.openxmlformats.org/officeDocument/2006/relationships/slideLayout" Target="../slideLayouts/slideLayout91.xml"/><Relationship Id="rId42" Type="http://schemas.openxmlformats.org/officeDocument/2006/relationships/slideLayout" Target="../slideLayouts/slideLayout112.xml"/><Relationship Id="rId47" Type="http://schemas.openxmlformats.org/officeDocument/2006/relationships/slideLayout" Target="../slideLayouts/slideLayout117.xml"/><Relationship Id="rId63" Type="http://schemas.openxmlformats.org/officeDocument/2006/relationships/slideLayout" Target="../slideLayouts/slideLayout133.xml"/><Relationship Id="rId68" Type="http://schemas.openxmlformats.org/officeDocument/2006/relationships/theme" Target="../theme/theme2.xml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29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81.xml"/><Relationship Id="rId24" Type="http://schemas.openxmlformats.org/officeDocument/2006/relationships/slideLayout" Target="../slideLayouts/slideLayout94.xml"/><Relationship Id="rId32" Type="http://schemas.openxmlformats.org/officeDocument/2006/relationships/slideLayout" Target="../slideLayouts/slideLayout102.xml"/><Relationship Id="rId37" Type="http://schemas.openxmlformats.org/officeDocument/2006/relationships/slideLayout" Target="../slideLayouts/slideLayout107.xml"/><Relationship Id="rId40" Type="http://schemas.openxmlformats.org/officeDocument/2006/relationships/slideLayout" Target="../slideLayouts/slideLayout110.xml"/><Relationship Id="rId45" Type="http://schemas.openxmlformats.org/officeDocument/2006/relationships/slideLayout" Target="../slideLayouts/slideLayout115.xml"/><Relationship Id="rId53" Type="http://schemas.openxmlformats.org/officeDocument/2006/relationships/slideLayout" Target="../slideLayouts/slideLayout123.xml"/><Relationship Id="rId58" Type="http://schemas.openxmlformats.org/officeDocument/2006/relationships/slideLayout" Target="../slideLayouts/slideLayout128.xml"/><Relationship Id="rId66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75.xml"/><Relationship Id="rId61" Type="http://schemas.openxmlformats.org/officeDocument/2006/relationships/slideLayout" Target="../slideLayouts/slideLayout131.xml"/><Relationship Id="rId1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84.xml"/><Relationship Id="rId22" Type="http://schemas.openxmlformats.org/officeDocument/2006/relationships/slideLayout" Target="../slideLayouts/slideLayout92.xml"/><Relationship Id="rId27" Type="http://schemas.openxmlformats.org/officeDocument/2006/relationships/slideLayout" Target="../slideLayouts/slideLayout97.xml"/><Relationship Id="rId30" Type="http://schemas.openxmlformats.org/officeDocument/2006/relationships/slideLayout" Target="../slideLayouts/slideLayout100.xml"/><Relationship Id="rId35" Type="http://schemas.openxmlformats.org/officeDocument/2006/relationships/slideLayout" Target="../slideLayouts/slideLayout105.xml"/><Relationship Id="rId43" Type="http://schemas.openxmlformats.org/officeDocument/2006/relationships/slideLayout" Target="../slideLayouts/slideLayout113.xml"/><Relationship Id="rId48" Type="http://schemas.openxmlformats.org/officeDocument/2006/relationships/slideLayout" Target="../slideLayouts/slideLayout118.xml"/><Relationship Id="rId56" Type="http://schemas.openxmlformats.org/officeDocument/2006/relationships/slideLayout" Target="../slideLayouts/slideLayout126.xml"/><Relationship Id="rId64" Type="http://schemas.openxmlformats.org/officeDocument/2006/relationships/slideLayout" Target="../slideLayouts/slideLayout134.xml"/><Relationship Id="rId69" Type="http://schemas.openxmlformats.org/officeDocument/2006/relationships/vmlDrawing" Target="../drawings/vmlDrawing2.vml"/><Relationship Id="rId8" Type="http://schemas.openxmlformats.org/officeDocument/2006/relationships/slideLayout" Target="../slideLayouts/slideLayout78.xml"/><Relationship Id="rId51" Type="http://schemas.openxmlformats.org/officeDocument/2006/relationships/slideLayout" Target="../slideLayouts/slideLayout121.xml"/><Relationship Id="rId72" Type="http://schemas.openxmlformats.org/officeDocument/2006/relationships/oleObject" Target="../embeddings/oleObject2.bin"/><Relationship Id="rId3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5" Type="http://schemas.openxmlformats.org/officeDocument/2006/relationships/slideLayout" Target="../slideLayouts/slideLayout95.xml"/><Relationship Id="rId33" Type="http://schemas.openxmlformats.org/officeDocument/2006/relationships/slideLayout" Target="../slideLayouts/slideLayout103.xml"/><Relationship Id="rId38" Type="http://schemas.openxmlformats.org/officeDocument/2006/relationships/slideLayout" Target="../slideLayouts/slideLayout108.xml"/><Relationship Id="rId46" Type="http://schemas.openxmlformats.org/officeDocument/2006/relationships/slideLayout" Target="../slideLayouts/slideLayout116.xml"/><Relationship Id="rId59" Type="http://schemas.openxmlformats.org/officeDocument/2006/relationships/slideLayout" Target="../slideLayouts/slideLayout129.xml"/><Relationship Id="rId67" Type="http://schemas.openxmlformats.org/officeDocument/2006/relationships/slideLayout" Target="../slideLayouts/slideLayout137.xml"/><Relationship Id="rId20" Type="http://schemas.openxmlformats.org/officeDocument/2006/relationships/slideLayout" Target="../slideLayouts/slideLayout90.xml"/><Relationship Id="rId41" Type="http://schemas.openxmlformats.org/officeDocument/2006/relationships/slideLayout" Target="../slideLayouts/slideLayout111.xml"/><Relationship Id="rId54" Type="http://schemas.openxmlformats.org/officeDocument/2006/relationships/slideLayout" Target="../slideLayouts/slideLayout124.xml"/><Relationship Id="rId62" Type="http://schemas.openxmlformats.org/officeDocument/2006/relationships/slideLayout" Target="../slideLayouts/slideLayout132.xml"/><Relationship Id="rId70" Type="http://schemas.openxmlformats.org/officeDocument/2006/relationships/tags" Target="../tags/tag3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5.xml"/><Relationship Id="rId23" Type="http://schemas.openxmlformats.org/officeDocument/2006/relationships/slideLayout" Target="../slideLayouts/slideLayout93.xml"/><Relationship Id="rId28" Type="http://schemas.openxmlformats.org/officeDocument/2006/relationships/slideLayout" Target="../slideLayouts/slideLayout98.xml"/><Relationship Id="rId36" Type="http://schemas.openxmlformats.org/officeDocument/2006/relationships/slideLayout" Target="../slideLayouts/slideLayout106.xml"/><Relationship Id="rId49" Type="http://schemas.openxmlformats.org/officeDocument/2006/relationships/slideLayout" Target="../slideLayouts/slideLayout119.xml"/><Relationship Id="rId5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80.xml"/><Relationship Id="rId31" Type="http://schemas.openxmlformats.org/officeDocument/2006/relationships/slideLayout" Target="../slideLayouts/slideLayout101.xml"/><Relationship Id="rId44" Type="http://schemas.openxmlformats.org/officeDocument/2006/relationships/slideLayout" Target="../slideLayouts/slideLayout114.xml"/><Relationship Id="rId52" Type="http://schemas.openxmlformats.org/officeDocument/2006/relationships/slideLayout" Target="../slideLayouts/slideLayout122.xml"/><Relationship Id="rId60" Type="http://schemas.openxmlformats.org/officeDocument/2006/relationships/slideLayout" Target="../slideLayouts/slideLayout130.xml"/><Relationship Id="rId65" Type="http://schemas.openxmlformats.org/officeDocument/2006/relationships/slideLayout" Target="../slideLayouts/slideLayout135.xml"/><Relationship Id="rId73" Type="http://schemas.openxmlformats.org/officeDocument/2006/relationships/image" Target="../media/image5.emf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3.xml"/><Relationship Id="rId18" Type="http://schemas.openxmlformats.org/officeDocument/2006/relationships/slideLayout" Target="../slideLayouts/slideLayout88.xml"/><Relationship Id="rId3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104.xml"/><Relationship Id="rId50" Type="http://schemas.openxmlformats.org/officeDocument/2006/relationships/slideLayout" Target="../slideLayouts/slideLayout120.xml"/><Relationship Id="rId55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77.xml"/><Relationship Id="rId71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63.xml"/><Relationship Id="rId21" Type="http://schemas.openxmlformats.org/officeDocument/2006/relationships/slideLayout" Target="../slideLayouts/slideLayout158.xml"/><Relationship Id="rId42" Type="http://schemas.openxmlformats.org/officeDocument/2006/relationships/slideLayout" Target="../slideLayouts/slideLayout179.xml"/><Relationship Id="rId47" Type="http://schemas.openxmlformats.org/officeDocument/2006/relationships/slideLayout" Target="../slideLayouts/slideLayout184.xml"/><Relationship Id="rId63" Type="http://schemas.openxmlformats.org/officeDocument/2006/relationships/slideLayout" Target="../slideLayouts/slideLayout200.xml"/><Relationship Id="rId68" Type="http://schemas.openxmlformats.org/officeDocument/2006/relationships/slideLayout" Target="../slideLayouts/slideLayout205.xml"/><Relationship Id="rId2" Type="http://schemas.openxmlformats.org/officeDocument/2006/relationships/slideLayout" Target="../slideLayouts/slideLayout139.xml"/><Relationship Id="rId16" Type="http://schemas.openxmlformats.org/officeDocument/2006/relationships/slideLayout" Target="../slideLayouts/slideLayout153.xml"/><Relationship Id="rId29" Type="http://schemas.openxmlformats.org/officeDocument/2006/relationships/slideLayout" Target="../slideLayouts/slideLayout166.xml"/><Relationship Id="rId11" Type="http://schemas.openxmlformats.org/officeDocument/2006/relationships/slideLayout" Target="../slideLayouts/slideLayout148.xml"/><Relationship Id="rId24" Type="http://schemas.openxmlformats.org/officeDocument/2006/relationships/slideLayout" Target="../slideLayouts/slideLayout161.xml"/><Relationship Id="rId32" Type="http://schemas.openxmlformats.org/officeDocument/2006/relationships/slideLayout" Target="../slideLayouts/slideLayout169.xml"/><Relationship Id="rId37" Type="http://schemas.openxmlformats.org/officeDocument/2006/relationships/slideLayout" Target="../slideLayouts/slideLayout174.xml"/><Relationship Id="rId40" Type="http://schemas.openxmlformats.org/officeDocument/2006/relationships/slideLayout" Target="../slideLayouts/slideLayout177.xml"/><Relationship Id="rId45" Type="http://schemas.openxmlformats.org/officeDocument/2006/relationships/slideLayout" Target="../slideLayouts/slideLayout182.xml"/><Relationship Id="rId53" Type="http://schemas.openxmlformats.org/officeDocument/2006/relationships/slideLayout" Target="../slideLayouts/slideLayout190.xml"/><Relationship Id="rId58" Type="http://schemas.openxmlformats.org/officeDocument/2006/relationships/slideLayout" Target="../slideLayouts/slideLayout195.xml"/><Relationship Id="rId66" Type="http://schemas.openxmlformats.org/officeDocument/2006/relationships/slideLayout" Target="../slideLayouts/slideLayout203.xml"/><Relationship Id="rId74" Type="http://schemas.openxmlformats.org/officeDocument/2006/relationships/image" Target="../media/image6.png"/><Relationship Id="rId5" Type="http://schemas.openxmlformats.org/officeDocument/2006/relationships/slideLayout" Target="../slideLayouts/slideLayout142.xml"/><Relationship Id="rId61" Type="http://schemas.openxmlformats.org/officeDocument/2006/relationships/slideLayout" Target="../slideLayouts/slideLayout198.xml"/><Relationship Id="rId19" Type="http://schemas.openxmlformats.org/officeDocument/2006/relationships/slideLayout" Target="../slideLayouts/slideLayout156.xml"/><Relationship Id="rId14" Type="http://schemas.openxmlformats.org/officeDocument/2006/relationships/slideLayout" Target="../slideLayouts/slideLayout151.xml"/><Relationship Id="rId22" Type="http://schemas.openxmlformats.org/officeDocument/2006/relationships/slideLayout" Target="../slideLayouts/slideLayout159.xml"/><Relationship Id="rId27" Type="http://schemas.openxmlformats.org/officeDocument/2006/relationships/slideLayout" Target="../slideLayouts/slideLayout164.xml"/><Relationship Id="rId30" Type="http://schemas.openxmlformats.org/officeDocument/2006/relationships/slideLayout" Target="../slideLayouts/slideLayout167.xml"/><Relationship Id="rId35" Type="http://schemas.openxmlformats.org/officeDocument/2006/relationships/slideLayout" Target="../slideLayouts/slideLayout172.xml"/><Relationship Id="rId43" Type="http://schemas.openxmlformats.org/officeDocument/2006/relationships/slideLayout" Target="../slideLayouts/slideLayout180.xml"/><Relationship Id="rId48" Type="http://schemas.openxmlformats.org/officeDocument/2006/relationships/slideLayout" Target="../slideLayouts/slideLayout185.xml"/><Relationship Id="rId56" Type="http://schemas.openxmlformats.org/officeDocument/2006/relationships/slideLayout" Target="../slideLayouts/slideLayout193.xml"/><Relationship Id="rId64" Type="http://schemas.openxmlformats.org/officeDocument/2006/relationships/slideLayout" Target="../slideLayouts/slideLayout201.xml"/><Relationship Id="rId69" Type="http://schemas.openxmlformats.org/officeDocument/2006/relationships/slideLayout" Target="../slideLayouts/slideLayout206.xml"/><Relationship Id="rId8" Type="http://schemas.openxmlformats.org/officeDocument/2006/relationships/slideLayout" Target="../slideLayouts/slideLayout145.xml"/><Relationship Id="rId51" Type="http://schemas.openxmlformats.org/officeDocument/2006/relationships/slideLayout" Target="../slideLayouts/slideLayout188.xml"/><Relationship Id="rId72" Type="http://schemas.openxmlformats.org/officeDocument/2006/relationships/slideLayout" Target="../slideLayouts/slideLayout209.xml"/><Relationship Id="rId3" Type="http://schemas.openxmlformats.org/officeDocument/2006/relationships/slideLayout" Target="../slideLayouts/slideLayout140.xml"/><Relationship Id="rId12" Type="http://schemas.openxmlformats.org/officeDocument/2006/relationships/slideLayout" Target="../slideLayouts/slideLayout149.xml"/><Relationship Id="rId17" Type="http://schemas.openxmlformats.org/officeDocument/2006/relationships/slideLayout" Target="../slideLayouts/slideLayout154.xml"/><Relationship Id="rId25" Type="http://schemas.openxmlformats.org/officeDocument/2006/relationships/slideLayout" Target="../slideLayouts/slideLayout162.xml"/><Relationship Id="rId33" Type="http://schemas.openxmlformats.org/officeDocument/2006/relationships/slideLayout" Target="../slideLayouts/slideLayout170.xml"/><Relationship Id="rId38" Type="http://schemas.openxmlformats.org/officeDocument/2006/relationships/slideLayout" Target="../slideLayouts/slideLayout175.xml"/><Relationship Id="rId46" Type="http://schemas.openxmlformats.org/officeDocument/2006/relationships/slideLayout" Target="../slideLayouts/slideLayout183.xml"/><Relationship Id="rId59" Type="http://schemas.openxmlformats.org/officeDocument/2006/relationships/slideLayout" Target="../slideLayouts/slideLayout196.xml"/><Relationship Id="rId67" Type="http://schemas.openxmlformats.org/officeDocument/2006/relationships/slideLayout" Target="../slideLayouts/slideLayout204.xml"/><Relationship Id="rId20" Type="http://schemas.openxmlformats.org/officeDocument/2006/relationships/slideLayout" Target="../slideLayouts/slideLayout157.xml"/><Relationship Id="rId41" Type="http://schemas.openxmlformats.org/officeDocument/2006/relationships/slideLayout" Target="../slideLayouts/slideLayout178.xml"/><Relationship Id="rId54" Type="http://schemas.openxmlformats.org/officeDocument/2006/relationships/slideLayout" Target="../slideLayouts/slideLayout191.xml"/><Relationship Id="rId62" Type="http://schemas.openxmlformats.org/officeDocument/2006/relationships/slideLayout" Target="../slideLayouts/slideLayout199.xml"/><Relationship Id="rId70" Type="http://schemas.openxmlformats.org/officeDocument/2006/relationships/slideLayout" Target="../slideLayouts/slideLayout207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5" Type="http://schemas.openxmlformats.org/officeDocument/2006/relationships/slideLayout" Target="../slideLayouts/slideLayout152.xml"/><Relationship Id="rId23" Type="http://schemas.openxmlformats.org/officeDocument/2006/relationships/slideLayout" Target="../slideLayouts/slideLayout160.xml"/><Relationship Id="rId28" Type="http://schemas.openxmlformats.org/officeDocument/2006/relationships/slideLayout" Target="../slideLayouts/slideLayout165.xml"/><Relationship Id="rId36" Type="http://schemas.openxmlformats.org/officeDocument/2006/relationships/slideLayout" Target="../slideLayouts/slideLayout173.xml"/><Relationship Id="rId49" Type="http://schemas.openxmlformats.org/officeDocument/2006/relationships/slideLayout" Target="../slideLayouts/slideLayout186.xml"/><Relationship Id="rId57" Type="http://schemas.openxmlformats.org/officeDocument/2006/relationships/slideLayout" Target="../slideLayouts/slideLayout194.xml"/><Relationship Id="rId10" Type="http://schemas.openxmlformats.org/officeDocument/2006/relationships/slideLayout" Target="../slideLayouts/slideLayout147.xml"/><Relationship Id="rId31" Type="http://schemas.openxmlformats.org/officeDocument/2006/relationships/slideLayout" Target="../slideLayouts/slideLayout168.xml"/><Relationship Id="rId44" Type="http://schemas.openxmlformats.org/officeDocument/2006/relationships/slideLayout" Target="../slideLayouts/slideLayout181.xml"/><Relationship Id="rId52" Type="http://schemas.openxmlformats.org/officeDocument/2006/relationships/slideLayout" Target="../slideLayouts/slideLayout189.xml"/><Relationship Id="rId60" Type="http://schemas.openxmlformats.org/officeDocument/2006/relationships/slideLayout" Target="../slideLayouts/slideLayout197.xml"/><Relationship Id="rId65" Type="http://schemas.openxmlformats.org/officeDocument/2006/relationships/slideLayout" Target="../slideLayouts/slideLayout202.xml"/><Relationship Id="rId73" Type="http://schemas.openxmlformats.org/officeDocument/2006/relationships/theme" Target="../theme/theme3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3" Type="http://schemas.openxmlformats.org/officeDocument/2006/relationships/slideLayout" Target="../slideLayouts/slideLayout150.xml"/><Relationship Id="rId18" Type="http://schemas.openxmlformats.org/officeDocument/2006/relationships/slideLayout" Target="../slideLayouts/slideLayout155.xml"/><Relationship Id="rId39" Type="http://schemas.openxmlformats.org/officeDocument/2006/relationships/slideLayout" Target="../slideLayouts/slideLayout176.xml"/><Relationship Id="rId34" Type="http://schemas.openxmlformats.org/officeDocument/2006/relationships/slideLayout" Target="../slideLayouts/slideLayout171.xml"/><Relationship Id="rId50" Type="http://schemas.openxmlformats.org/officeDocument/2006/relationships/slideLayout" Target="../slideLayouts/slideLayout187.xml"/><Relationship Id="rId55" Type="http://schemas.openxmlformats.org/officeDocument/2006/relationships/slideLayout" Target="../slideLayouts/slideLayout192.xml"/><Relationship Id="rId7" Type="http://schemas.openxmlformats.org/officeDocument/2006/relationships/slideLayout" Target="../slideLayouts/slideLayout144.xml"/><Relationship Id="rId71" Type="http://schemas.openxmlformats.org/officeDocument/2006/relationships/slideLayout" Target="../slideLayouts/slideLayout208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35.xml"/><Relationship Id="rId21" Type="http://schemas.openxmlformats.org/officeDocument/2006/relationships/slideLayout" Target="../slideLayouts/slideLayout230.xml"/><Relationship Id="rId34" Type="http://schemas.openxmlformats.org/officeDocument/2006/relationships/slideLayout" Target="../slideLayouts/slideLayout243.xml"/><Relationship Id="rId42" Type="http://schemas.openxmlformats.org/officeDocument/2006/relationships/slideLayout" Target="../slideLayouts/slideLayout251.xml"/><Relationship Id="rId47" Type="http://schemas.openxmlformats.org/officeDocument/2006/relationships/slideLayout" Target="../slideLayouts/slideLayout256.xml"/><Relationship Id="rId50" Type="http://schemas.openxmlformats.org/officeDocument/2006/relationships/slideLayout" Target="../slideLayouts/slideLayout259.xml"/><Relationship Id="rId55" Type="http://schemas.openxmlformats.org/officeDocument/2006/relationships/slideLayout" Target="../slideLayouts/slideLayout264.xml"/><Relationship Id="rId63" Type="http://schemas.openxmlformats.org/officeDocument/2006/relationships/slideLayout" Target="../slideLayouts/slideLayout272.xml"/><Relationship Id="rId68" Type="http://schemas.openxmlformats.org/officeDocument/2006/relationships/theme" Target="../theme/theme4.xml"/><Relationship Id="rId7" Type="http://schemas.openxmlformats.org/officeDocument/2006/relationships/slideLayout" Target="../slideLayouts/slideLayout216.xml"/><Relationship Id="rId2" Type="http://schemas.openxmlformats.org/officeDocument/2006/relationships/slideLayout" Target="../slideLayouts/slideLayout211.xml"/><Relationship Id="rId16" Type="http://schemas.openxmlformats.org/officeDocument/2006/relationships/slideLayout" Target="../slideLayouts/slideLayout225.xml"/><Relationship Id="rId29" Type="http://schemas.openxmlformats.org/officeDocument/2006/relationships/slideLayout" Target="../slideLayouts/slideLayout238.xml"/><Relationship Id="rId11" Type="http://schemas.openxmlformats.org/officeDocument/2006/relationships/slideLayout" Target="../slideLayouts/slideLayout220.xml"/><Relationship Id="rId24" Type="http://schemas.openxmlformats.org/officeDocument/2006/relationships/slideLayout" Target="../slideLayouts/slideLayout233.xml"/><Relationship Id="rId32" Type="http://schemas.openxmlformats.org/officeDocument/2006/relationships/slideLayout" Target="../slideLayouts/slideLayout241.xml"/><Relationship Id="rId37" Type="http://schemas.openxmlformats.org/officeDocument/2006/relationships/slideLayout" Target="../slideLayouts/slideLayout246.xml"/><Relationship Id="rId40" Type="http://schemas.openxmlformats.org/officeDocument/2006/relationships/slideLayout" Target="../slideLayouts/slideLayout249.xml"/><Relationship Id="rId45" Type="http://schemas.openxmlformats.org/officeDocument/2006/relationships/slideLayout" Target="../slideLayouts/slideLayout254.xml"/><Relationship Id="rId53" Type="http://schemas.openxmlformats.org/officeDocument/2006/relationships/slideLayout" Target="../slideLayouts/slideLayout262.xml"/><Relationship Id="rId58" Type="http://schemas.openxmlformats.org/officeDocument/2006/relationships/slideLayout" Target="../slideLayouts/slideLayout267.xml"/><Relationship Id="rId66" Type="http://schemas.openxmlformats.org/officeDocument/2006/relationships/slideLayout" Target="../slideLayouts/slideLayout275.xml"/><Relationship Id="rId5" Type="http://schemas.openxmlformats.org/officeDocument/2006/relationships/slideLayout" Target="../slideLayouts/slideLayout214.xml"/><Relationship Id="rId61" Type="http://schemas.openxmlformats.org/officeDocument/2006/relationships/slideLayout" Target="../slideLayouts/slideLayout270.xml"/><Relationship Id="rId19" Type="http://schemas.openxmlformats.org/officeDocument/2006/relationships/slideLayout" Target="../slideLayouts/slideLayout228.xml"/><Relationship Id="rId14" Type="http://schemas.openxmlformats.org/officeDocument/2006/relationships/slideLayout" Target="../slideLayouts/slideLayout223.xml"/><Relationship Id="rId22" Type="http://schemas.openxmlformats.org/officeDocument/2006/relationships/slideLayout" Target="../slideLayouts/slideLayout231.xml"/><Relationship Id="rId27" Type="http://schemas.openxmlformats.org/officeDocument/2006/relationships/slideLayout" Target="../slideLayouts/slideLayout236.xml"/><Relationship Id="rId30" Type="http://schemas.openxmlformats.org/officeDocument/2006/relationships/slideLayout" Target="../slideLayouts/slideLayout239.xml"/><Relationship Id="rId35" Type="http://schemas.openxmlformats.org/officeDocument/2006/relationships/slideLayout" Target="../slideLayouts/slideLayout244.xml"/><Relationship Id="rId43" Type="http://schemas.openxmlformats.org/officeDocument/2006/relationships/slideLayout" Target="../slideLayouts/slideLayout252.xml"/><Relationship Id="rId48" Type="http://schemas.openxmlformats.org/officeDocument/2006/relationships/slideLayout" Target="../slideLayouts/slideLayout257.xml"/><Relationship Id="rId56" Type="http://schemas.openxmlformats.org/officeDocument/2006/relationships/slideLayout" Target="../slideLayouts/slideLayout265.xml"/><Relationship Id="rId64" Type="http://schemas.openxmlformats.org/officeDocument/2006/relationships/slideLayout" Target="../slideLayouts/slideLayout273.xml"/><Relationship Id="rId8" Type="http://schemas.openxmlformats.org/officeDocument/2006/relationships/slideLayout" Target="../slideLayouts/slideLayout217.xml"/><Relationship Id="rId51" Type="http://schemas.openxmlformats.org/officeDocument/2006/relationships/slideLayout" Target="../slideLayouts/slideLayout260.xml"/><Relationship Id="rId3" Type="http://schemas.openxmlformats.org/officeDocument/2006/relationships/slideLayout" Target="../slideLayouts/slideLayout212.xml"/><Relationship Id="rId12" Type="http://schemas.openxmlformats.org/officeDocument/2006/relationships/slideLayout" Target="../slideLayouts/slideLayout221.xml"/><Relationship Id="rId17" Type="http://schemas.openxmlformats.org/officeDocument/2006/relationships/slideLayout" Target="../slideLayouts/slideLayout226.xml"/><Relationship Id="rId25" Type="http://schemas.openxmlformats.org/officeDocument/2006/relationships/slideLayout" Target="../slideLayouts/slideLayout234.xml"/><Relationship Id="rId33" Type="http://schemas.openxmlformats.org/officeDocument/2006/relationships/slideLayout" Target="../slideLayouts/slideLayout242.xml"/><Relationship Id="rId38" Type="http://schemas.openxmlformats.org/officeDocument/2006/relationships/slideLayout" Target="../slideLayouts/slideLayout247.xml"/><Relationship Id="rId46" Type="http://schemas.openxmlformats.org/officeDocument/2006/relationships/slideLayout" Target="../slideLayouts/slideLayout255.xml"/><Relationship Id="rId59" Type="http://schemas.openxmlformats.org/officeDocument/2006/relationships/slideLayout" Target="../slideLayouts/slideLayout268.xml"/><Relationship Id="rId67" Type="http://schemas.openxmlformats.org/officeDocument/2006/relationships/slideLayout" Target="../slideLayouts/slideLayout276.xml"/><Relationship Id="rId20" Type="http://schemas.openxmlformats.org/officeDocument/2006/relationships/slideLayout" Target="../slideLayouts/slideLayout229.xml"/><Relationship Id="rId41" Type="http://schemas.openxmlformats.org/officeDocument/2006/relationships/slideLayout" Target="../slideLayouts/slideLayout250.xml"/><Relationship Id="rId54" Type="http://schemas.openxmlformats.org/officeDocument/2006/relationships/slideLayout" Target="../slideLayouts/slideLayout263.xml"/><Relationship Id="rId62" Type="http://schemas.openxmlformats.org/officeDocument/2006/relationships/slideLayout" Target="../slideLayouts/slideLayout271.xml"/><Relationship Id="rId1" Type="http://schemas.openxmlformats.org/officeDocument/2006/relationships/slideLayout" Target="../slideLayouts/slideLayout210.xml"/><Relationship Id="rId6" Type="http://schemas.openxmlformats.org/officeDocument/2006/relationships/slideLayout" Target="../slideLayouts/slideLayout215.xml"/><Relationship Id="rId15" Type="http://schemas.openxmlformats.org/officeDocument/2006/relationships/slideLayout" Target="../slideLayouts/slideLayout224.xml"/><Relationship Id="rId23" Type="http://schemas.openxmlformats.org/officeDocument/2006/relationships/slideLayout" Target="../slideLayouts/slideLayout232.xml"/><Relationship Id="rId28" Type="http://schemas.openxmlformats.org/officeDocument/2006/relationships/slideLayout" Target="../slideLayouts/slideLayout237.xml"/><Relationship Id="rId36" Type="http://schemas.openxmlformats.org/officeDocument/2006/relationships/slideLayout" Target="../slideLayouts/slideLayout245.xml"/><Relationship Id="rId49" Type="http://schemas.openxmlformats.org/officeDocument/2006/relationships/slideLayout" Target="../slideLayouts/slideLayout258.xml"/><Relationship Id="rId57" Type="http://schemas.openxmlformats.org/officeDocument/2006/relationships/slideLayout" Target="../slideLayouts/slideLayout266.xml"/><Relationship Id="rId10" Type="http://schemas.openxmlformats.org/officeDocument/2006/relationships/slideLayout" Target="../slideLayouts/slideLayout219.xml"/><Relationship Id="rId31" Type="http://schemas.openxmlformats.org/officeDocument/2006/relationships/slideLayout" Target="../slideLayouts/slideLayout240.xml"/><Relationship Id="rId44" Type="http://schemas.openxmlformats.org/officeDocument/2006/relationships/slideLayout" Target="../slideLayouts/slideLayout253.xml"/><Relationship Id="rId52" Type="http://schemas.openxmlformats.org/officeDocument/2006/relationships/slideLayout" Target="../slideLayouts/slideLayout261.xml"/><Relationship Id="rId60" Type="http://schemas.openxmlformats.org/officeDocument/2006/relationships/slideLayout" Target="../slideLayouts/slideLayout269.xml"/><Relationship Id="rId65" Type="http://schemas.openxmlformats.org/officeDocument/2006/relationships/slideLayout" Target="../slideLayouts/slideLayout274.xml"/><Relationship Id="rId4" Type="http://schemas.openxmlformats.org/officeDocument/2006/relationships/slideLayout" Target="../slideLayouts/slideLayout213.xml"/><Relationship Id="rId9" Type="http://schemas.openxmlformats.org/officeDocument/2006/relationships/slideLayout" Target="../slideLayouts/slideLayout218.xml"/><Relationship Id="rId13" Type="http://schemas.openxmlformats.org/officeDocument/2006/relationships/slideLayout" Target="../slideLayouts/slideLayout222.xml"/><Relationship Id="rId18" Type="http://schemas.openxmlformats.org/officeDocument/2006/relationships/slideLayout" Target="../slideLayouts/slideLayout227.xml"/><Relationship Id="rId39" Type="http://schemas.openxmlformats.org/officeDocument/2006/relationships/slideLayout" Target="../slideLayouts/slideLayout248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9.xml"/><Relationship Id="rId18" Type="http://schemas.openxmlformats.org/officeDocument/2006/relationships/slideLayout" Target="../slideLayouts/slideLayout294.xml"/><Relationship Id="rId26" Type="http://schemas.openxmlformats.org/officeDocument/2006/relationships/slideLayout" Target="../slideLayouts/slideLayout302.xml"/><Relationship Id="rId39" Type="http://schemas.openxmlformats.org/officeDocument/2006/relationships/slideLayout" Target="../slideLayouts/slideLayout315.xml"/><Relationship Id="rId21" Type="http://schemas.openxmlformats.org/officeDocument/2006/relationships/slideLayout" Target="../slideLayouts/slideLayout297.xml"/><Relationship Id="rId34" Type="http://schemas.openxmlformats.org/officeDocument/2006/relationships/slideLayout" Target="../slideLayouts/slideLayout310.xml"/><Relationship Id="rId42" Type="http://schemas.openxmlformats.org/officeDocument/2006/relationships/slideLayout" Target="../slideLayouts/slideLayout318.xml"/><Relationship Id="rId47" Type="http://schemas.openxmlformats.org/officeDocument/2006/relationships/slideLayout" Target="../slideLayouts/slideLayout323.xml"/><Relationship Id="rId50" Type="http://schemas.openxmlformats.org/officeDocument/2006/relationships/slideLayout" Target="../slideLayouts/slideLayout326.xml"/><Relationship Id="rId55" Type="http://schemas.openxmlformats.org/officeDocument/2006/relationships/slideLayout" Target="../slideLayouts/slideLayout331.xml"/><Relationship Id="rId7" Type="http://schemas.openxmlformats.org/officeDocument/2006/relationships/slideLayout" Target="../slideLayouts/slideLayout283.xml"/><Relationship Id="rId2" Type="http://schemas.openxmlformats.org/officeDocument/2006/relationships/slideLayout" Target="../slideLayouts/slideLayout278.xml"/><Relationship Id="rId16" Type="http://schemas.openxmlformats.org/officeDocument/2006/relationships/slideLayout" Target="../slideLayouts/slideLayout292.xml"/><Relationship Id="rId29" Type="http://schemas.openxmlformats.org/officeDocument/2006/relationships/slideLayout" Target="../slideLayouts/slideLayout305.xml"/><Relationship Id="rId11" Type="http://schemas.openxmlformats.org/officeDocument/2006/relationships/slideLayout" Target="../slideLayouts/slideLayout287.xml"/><Relationship Id="rId24" Type="http://schemas.openxmlformats.org/officeDocument/2006/relationships/slideLayout" Target="../slideLayouts/slideLayout300.xml"/><Relationship Id="rId32" Type="http://schemas.openxmlformats.org/officeDocument/2006/relationships/slideLayout" Target="../slideLayouts/slideLayout308.xml"/><Relationship Id="rId37" Type="http://schemas.openxmlformats.org/officeDocument/2006/relationships/slideLayout" Target="../slideLayouts/slideLayout313.xml"/><Relationship Id="rId40" Type="http://schemas.openxmlformats.org/officeDocument/2006/relationships/slideLayout" Target="../slideLayouts/slideLayout316.xml"/><Relationship Id="rId45" Type="http://schemas.openxmlformats.org/officeDocument/2006/relationships/slideLayout" Target="../slideLayouts/slideLayout321.xml"/><Relationship Id="rId53" Type="http://schemas.openxmlformats.org/officeDocument/2006/relationships/slideLayout" Target="../slideLayouts/slideLayout329.xml"/><Relationship Id="rId5" Type="http://schemas.openxmlformats.org/officeDocument/2006/relationships/slideLayout" Target="../slideLayouts/slideLayout281.xml"/><Relationship Id="rId10" Type="http://schemas.openxmlformats.org/officeDocument/2006/relationships/slideLayout" Target="../slideLayouts/slideLayout286.xml"/><Relationship Id="rId19" Type="http://schemas.openxmlformats.org/officeDocument/2006/relationships/slideLayout" Target="../slideLayouts/slideLayout295.xml"/><Relationship Id="rId31" Type="http://schemas.openxmlformats.org/officeDocument/2006/relationships/slideLayout" Target="../slideLayouts/slideLayout307.xml"/><Relationship Id="rId44" Type="http://schemas.openxmlformats.org/officeDocument/2006/relationships/slideLayout" Target="../slideLayouts/slideLayout320.xml"/><Relationship Id="rId52" Type="http://schemas.openxmlformats.org/officeDocument/2006/relationships/slideLayout" Target="../slideLayouts/slideLayout328.xml"/><Relationship Id="rId4" Type="http://schemas.openxmlformats.org/officeDocument/2006/relationships/slideLayout" Target="../slideLayouts/slideLayout280.xml"/><Relationship Id="rId9" Type="http://schemas.openxmlformats.org/officeDocument/2006/relationships/slideLayout" Target="../slideLayouts/slideLayout285.xml"/><Relationship Id="rId14" Type="http://schemas.openxmlformats.org/officeDocument/2006/relationships/slideLayout" Target="../slideLayouts/slideLayout290.xml"/><Relationship Id="rId22" Type="http://schemas.openxmlformats.org/officeDocument/2006/relationships/slideLayout" Target="../slideLayouts/slideLayout298.xml"/><Relationship Id="rId27" Type="http://schemas.openxmlformats.org/officeDocument/2006/relationships/slideLayout" Target="../slideLayouts/slideLayout303.xml"/><Relationship Id="rId30" Type="http://schemas.openxmlformats.org/officeDocument/2006/relationships/slideLayout" Target="../slideLayouts/slideLayout306.xml"/><Relationship Id="rId35" Type="http://schemas.openxmlformats.org/officeDocument/2006/relationships/slideLayout" Target="../slideLayouts/slideLayout311.xml"/><Relationship Id="rId43" Type="http://schemas.openxmlformats.org/officeDocument/2006/relationships/slideLayout" Target="../slideLayouts/slideLayout319.xml"/><Relationship Id="rId48" Type="http://schemas.openxmlformats.org/officeDocument/2006/relationships/slideLayout" Target="../slideLayouts/slideLayout324.xml"/><Relationship Id="rId56" Type="http://schemas.openxmlformats.org/officeDocument/2006/relationships/theme" Target="../theme/theme5.xml"/><Relationship Id="rId8" Type="http://schemas.openxmlformats.org/officeDocument/2006/relationships/slideLayout" Target="../slideLayouts/slideLayout284.xml"/><Relationship Id="rId51" Type="http://schemas.openxmlformats.org/officeDocument/2006/relationships/slideLayout" Target="../slideLayouts/slideLayout327.xml"/><Relationship Id="rId3" Type="http://schemas.openxmlformats.org/officeDocument/2006/relationships/slideLayout" Target="../slideLayouts/slideLayout279.xml"/><Relationship Id="rId12" Type="http://schemas.openxmlformats.org/officeDocument/2006/relationships/slideLayout" Target="../slideLayouts/slideLayout288.xml"/><Relationship Id="rId17" Type="http://schemas.openxmlformats.org/officeDocument/2006/relationships/slideLayout" Target="../slideLayouts/slideLayout293.xml"/><Relationship Id="rId25" Type="http://schemas.openxmlformats.org/officeDocument/2006/relationships/slideLayout" Target="../slideLayouts/slideLayout301.xml"/><Relationship Id="rId33" Type="http://schemas.openxmlformats.org/officeDocument/2006/relationships/slideLayout" Target="../slideLayouts/slideLayout309.xml"/><Relationship Id="rId38" Type="http://schemas.openxmlformats.org/officeDocument/2006/relationships/slideLayout" Target="../slideLayouts/slideLayout314.xml"/><Relationship Id="rId46" Type="http://schemas.openxmlformats.org/officeDocument/2006/relationships/slideLayout" Target="../slideLayouts/slideLayout322.xml"/><Relationship Id="rId20" Type="http://schemas.openxmlformats.org/officeDocument/2006/relationships/slideLayout" Target="../slideLayouts/slideLayout296.xml"/><Relationship Id="rId41" Type="http://schemas.openxmlformats.org/officeDocument/2006/relationships/slideLayout" Target="../slideLayouts/slideLayout317.xml"/><Relationship Id="rId54" Type="http://schemas.openxmlformats.org/officeDocument/2006/relationships/slideLayout" Target="../slideLayouts/slideLayout330.xml"/><Relationship Id="rId1" Type="http://schemas.openxmlformats.org/officeDocument/2006/relationships/slideLayout" Target="../slideLayouts/slideLayout277.xml"/><Relationship Id="rId6" Type="http://schemas.openxmlformats.org/officeDocument/2006/relationships/slideLayout" Target="../slideLayouts/slideLayout282.xml"/><Relationship Id="rId15" Type="http://schemas.openxmlformats.org/officeDocument/2006/relationships/slideLayout" Target="../slideLayouts/slideLayout291.xml"/><Relationship Id="rId23" Type="http://schemas.openxmlformats.org/officeDocument/2006/relationships/slideLayout" Target="../slideLayouts/slideLayout299.xml"/><Relationship Id="rId28" Type="http://schemas.openxmlformats.org/officeDocument/2006/relationships/slideLayout" Target="../slideLayouts/slideLayout304.xml"/><Relationship Id="rId36" Type="http://schemas.openxmlformats.org/officeDocument/2006/relationships/slideLayout" Target="../slideLayouts/slideLayout312.xml"/><Relationship Id="rId49" Type="http://schemas.openxmlformats.org/officeDocument/2006/relationships/slideLayout" Target="../slideLayouts/slideLayout32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44.xml"/><Relationship Id="rId18" Type="http://schemas.openxmlformats.org/officeDocument/2006/relationships/slideLayout" Target="../slideLayouts/slideLayout349.xml"/><Relationship Id="rId26" Type="http://schemas.openxmlformats.org/officeDocument/2006/relationships/slideLayout" Target="../slideLayouts/slideLayout357.xml"/><Relationship Id="rId39" Type="http://schemas.openxmlformats.org/officeDocument/2006/relationships/slideLayout" Target="../slideLayouts/slideLayout370.xml"/><Relationship Id="rId21" Type="http://schemas.openxmlformats.org/officeDocument/2006/relationships/slideLayout" Target="../slideLayouts/slideLayout352.xml"/><Relationship Id="rId34" Type="http://schemas.openxmlformats.org/officeDocument/2006/relationships/slideLayout" Target="../slideLayouts/slideLayout365.xml"/><Relationship Id="rId42" Type="http://schemas.openxmlformats.org/officeDocument/2006/relationships/slideLayout" Target="../slideLayouts/slideLayout373.xml"/><Relationship Id="rId47" Type="http://schemas.openxmlformats.org/officeDocument/2006/relationships/slideLayout" Target="../slideLayouts/slideLayout378.xml"/><Relationship Id="rId50" Type="http://schemas.openxmlformats.org/officeDocument/2006/relationships/slideLayout" Target="../slideLayouts/slideLayout381.xml"/><Relationship Id="rId55" Type="http://schemas.openxmlformats.org/officeDocument/2006/relationships/slideLayout" Target="../slideLayouts/slideLayout386.xml"/><Relationship Id="rId7" Type="http://schemas.openxmlformats.org/officeDocument/2006/relationships/slideLayout" Target="../slideLayouts/slideLayout338.xml"/><Relationship Id="rId2" Type="http://schemas.openxmlformats.org/officeDocument/2006/relationships/slideLayout" Target="../slideLayouts/slideLayout333.xml"/><Relationship Id="rId16" Type="http://schemas.openxmlformats.org/officeDocument/2006/relationships/slideLayout" Target="../slideLayouts/slideLayout347.xml"/><Relationship Id="rId29" Type="http://schemas.openxmlformats.org/officeDocument/2006/relationships/slideLayout" Target="../slideLayouts/slideLayout360.xml"/><Relationship Id="rId11" Type="http://schemas.openxmlformats.org/officeDocument/2006/relationships/slideLayout" Target="../slideLayouts/slideLayout342.xml"/><Relationship Id="rId24" Type="http://schemas.openxmlformats.org/officeDocument/2006/relationships/slideLayout" Target="../slideLayouts/slideLayout355.xml"/><Relationship Id="rId32" Type="http://schemas.openxmlformats.org/officeDocument/2006/relationships/slideLayout" Target="../slideLayouts/slideLayout363.xml"/><Relationship Id="rId37" Type="http://schemas.openxmlformats.org/officeDocument/2006/relationships/slideLayout" Target="../slideLayouts/slideLayout368.xml"/><Relationship Id="rId40" Type="http://schemas.openxmlformats.org/officeDocument/2006/relationships/slideLayout" Target="../slideLayouts/slideLayout371.xml"/><Relationship Id="rId45" Type="http://schemas.openxmlformats.org/officeDocument/2006/relationships/slideLayout" Target="../slideLayouts/slideLayout376.xml"/><Relationship Id="rId53" Type="http://schemas.openxmlformats.org/officeDocument/2006/relationships/slideLayout" Target="../slideLayouts/slideLayout384.xml"/><Relationship Id="rId58" Type="http://schemas.openxmlformats.org/officeDocument/2006/relationships/theme" Target="../theme/theme6.xml"/><Relationship Id="rId5" Type="http://schemas.openxmlformats.org/officeDocument/2006/relationships/slideLayout" Target="../slideLayouts/slideLayout336.xml"/><Relationship Id="rId19" Type="http://schemas.openxmlformats.org/officeDocument/2006/relationships/slideLayout" Target="../slideLayouts/slideLayout350.xml"/><Relationship Id="rId4" Type="http://schemas.openxmlformats.org/officeDocument/2006/relationships/slideLayout" Target="../slideLayouts/slideLayout335.xml"/><Relationship Id="rId9" Type="http://schemas.openxmlformats.org/officeDocument/2006/relationships/slideLayout" Target="../slideLayouts/slideLayout340.xml"/><Relationship Id="rId14" Type="http://schemas.openxmlformats.org/officeDocument/2006/relationships/slideLayout" Target="../slideLayouts/slideLayout345.xml"/><Relationship Id="rId22" Type="http://schemas.openxmlformats.org/officeDocument/2006/relationships/slideLayout" Target="../slideLayouts/slideLayout353.xml"/><Relationship Id="rId27" Type="http://schemas.openxmlformats.org/officeDocument/2006/relationships/slideLayout" Target="../slideLayouts/slideLayout358.xml"/><Relationship Id="rId30" Type="http://schemas.openxmlformats.org/officeDocument/2006/relationships/slideLayout" Target="../slideLayouts/slideLayout361.xml"/><Relationship Id="rId35" Type="http://schemas.openxmlformats.org/officeDocument/2006/relationships/slideLayout" Target="../slideLayouts/slideLayout366.xml"/><Relationship Id="rId43" Type="http://schemas.openxmlformats.org/officeDocument/2006/relationships/slideLayout" Target="../slideLayouts/slideLayout374.xml"/><Relationship Id="rId48" Type="http://schemas.openxmlformats.org/officeDocument/2006/relationships/slideLayout" Target="../slideLayouts/slideLayout379.xml"/><Relationship Id="rId56" Type="http://schemas.openxmlformats.org/officeDocument/2006/relationships/slideLayout" Target="../slideLayouts/slideLayout387.xml"/><Relationship Id="rId8" Type="http://schemas.openxmlformats.org/officeDocument/2006/relationships/slideLayout" Target="../slideLayouts/slideLayout339.xml"/><Relationship Id="rId51" Type="http://schemas.openxmlformats.org/officeDocument/2006/relationships/slideLayout" Target="../slideLayouts/slideLayout382.xml"/><Relationship Id="rId3" Type="http://schemas.openxmlformats.org/officeDocument/2006/relationships/slideLayout" Target="../slideLayouts/slideLayout334.xml"/><Relationship Id="rId12" Type="http://schemas.openxmlformats.org/officeDocument/2006/relationships/slideLayout" Target="../slideLayouts/slideLayout343.xml"/><Relationship Id="rId17" Type="http://schemas.openxmlformats.org/officeDocument/2006/relationships/slideLayout" Target="../slideLayouts/slideLayout348.xml"/><Relationship Id="rId25" Type="http://schemas.openxmlformats.org/officeDocument/2006/relationships/slideLayout" Target="../slideLayouts/slideLayout356.xml"/><Relationship Id="rId33" Type="http://schemas.openxmlformats.org/officeDocument/2006/relationships/slideLayout" Target="../slideLayouts/slideLayout364.xml"/><Relationship Id="rId38" Type="http://schemas.openxmlformats.org/officeDocument/2006/relationships/slideLayout" Target="../slideLayouts/slideLayout369.xml"/><Relationship Id="rId46" Type="http://schemas.openxmlformats.org/officeDocument/2006/relationships/slideLayout" Target="../slideLayouts/slideLayout377.xml"/><Relationship Id="rId20" Type="http://schemas.openxmlformats.org/officeDocument/2006/relationships/slideLayout" Target="../slideLayouts/slideLayout351.xml"/><Relationship Id="rId41" Type="http://schemas.openxmlformats.org/officeDocument/2006/relationships/slideLayout" Target="../slideLayouts/slideLayout372.xml"/><Relationship Id="rId54" Type="http://schemas.openxmlformats.org/officeDocument/2006/relationships/slideLayout" Target="../slideLayouts/slideLayout385.xml"/><Relationship Id="rId1" Type="http://schemas.openxmlformats.org/officeDocument/2006/relationships/slideLayout" Target="../slideLayouts/slideLayout332.xml"/><Relationship Id="rId6" Type="http://schemas.openxmlformats.org/officeDocument/2006/relationships/slideLayout" Target="../slideLayouts/slideLayout337.xml"/><Relationship Id="rId15" Type="http://schemas.openxmlformats.org/officeDocument/2006/relationships/slideLayout" Target="../slideLayouts/slideLayout346.xml"/><Relationship Id="rId23" Type="http://schemas.openxmlformats.org/officeDocument/2006/relationships/slideLayout" Target="../slideLayouts/slideLayout354.xml"/><Relationship Id="rId28" Type="http://schemas.openxmlformats.org/officeDocument/2006/relationships/slideLayout" Target="../slideLayouts/slideLayout359.xml"/><Relationship Id="rId36" Type="http://schemas.openxmlformats.org/officeDocument/2006/relationships/slideLayout" Target="../slideLayouts/slideLayout367.xml"/><Relationship Id="rId49" Type="http://schemas.openxmlformats.org/officeDocument/2006/relationships/slideLayout" Target="../slideLayouts/slideLayout380.xml"/><Relationship Id="rId57" Type="http://schemas.openxmlformats.org/officeDocument/2006/relationships/slideLayout" Target="../slideLayouts/slideLayout388.xml"/><Relationship Id="rId10" Type="http://schemas.openxmlformats.org/officeDocument/2006/relationships/slideLayout" Target="../slideLayouts/slideLayout341.xml"/><Relationship Id="rId31" Type="http://schemas.openxmlformats.org/officeDocument/2006/relationships/slideLayout" Target="../slideLayouts/slideLayout362.xml"/><Relationship Id="rId44" Type="http://schemas.openxmlformats.org/officeDocument/2006/relationships/slideLayout" Target="../slideLayouts/slideLayout375.xml"/><Relationship Id="rId52" Type="http://schemas.openxmlformats.org/officeDocument/2006/relationships/slideLayout" Target="../slideLayouts/slideLayout38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9B867B0-019F-4F10-B3A1-AFE3533B6474}"/>
              </a:ext>
            </a:extLst>
          </p:cNvPr>
          <p:cNvGraphicFramePr>
            <a:graphicFrameLocks noChangeAspect="1"/>
          </p:cNvGraphicFramePr>
          <p:nvPr>
            <p:custDataLst>
              <p:tags r:id="rId73"/>
            </p:custDataLst>
            <p:extLst>
              <p:ext uri="{D42A27DB-BD31-4B8C-83A1-F6EECF244321}">
                <p14:modId xmlns:p14="http://schemas.microsoft.com/office/powerpoint/2010/main" val="203176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5" imgW="395" imgH="394" progId="TCLayout.ActiveDocument.1">
                  <p:embed/>
                </p:oleObj>
              </mc:Choice>
              <mc:Fallback>
                <p:oleObj name="think-cell Slide" r:id="rId7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9B867B0-019F-4F10-B3A1-AFE3533B6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1866E5C-E997-4DD0-A847-78440ECCB5D1}"/>
              </a:ext>
            </a:extLst>
          </p:cNvPr>
          <p:cNvSpPr/>
          <p:nvPr>
            <p:custDataLst>
              <p:tags r:id="rId7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grpSp>
        <p:nvGrpSpPr>
          <p:cNvPr id="12" name="grid" hidden="1">
            <a:extLst>
              <a:ext uri="{FF2B5EF4-FFF2-40B4-BE49-F238E27FC236}">
                <a16:creationId xmlns:a16="http://schemas.microsoft.com/office/drawing/2014/main" id="{CB62F4A8-D16F-4ED4-8FB1-033DD30013A9}"/>
              </a:ext>
            </a:extLst>
          </p:cNvPr>
          <p:cNvGrpSpPr/>
          <p:nvPr/>
        </p:nvGrpSpPr>
        <p:grpSpPr>
          <a:xfrm>
            <a:off x="496953" y="-460390"/>
            <a:ext cx="11194985" cy="298579"/>
            <a:chOff x="496953" y="-460390"/>
            <a:chExt cx="11194985" cy="298579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71894BAE-7B52-43F3-AD46-8957D93FF5AB}"/>
                </a:ext>
              </a:extLst>
            </p:cNvPr>
            <p:cNvGrpSpPr/>
            <p:nvPr/>
          </p:nvGrpSpPr>
          <p:grpSpPr>
            <a:xfrm>
              <a:off x="4061925" y="-460390"/>
              <a:ext cx="250032" cy="298579"/>
              <a:chOff x="4064744" y="4163251"/>
              <a:chExt cx="250032" cy="298579"/>
            </a:xfrm>
          </p:grpSpPr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D69FFFF0-32A9-46BC-A379-334A55789281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F5309365-DA95-40B6-BE77-1DE527E38447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9B2BADEC-78DB-464B-937A-8F5A0553FC53}"/>
                </a:ext>
              </a:extLst>
            </p:cNvPr>
            <p:cNvGrpSpPr/>
            <p:nvPr/>
          </p:nvGrpSpPr>
          <p:grpSpPr>
            <a:xfrm>
              <a:off x="7876929" y="-460390"/>
              <a:ext cx="250032" cy="298579"/>
              <a:chOff x="4064744" y="4163251"/>
              <a:chExt cx="250032" cy="298579"/>
            </a:xfrm>
          </p:grpSpPr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3359999C-DB9A-40C8-A213-DE83FF39D2FF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0BC82D5E-5908-416C-A039-B3C5E9E76A20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9BD3A864-9244-44A2-BC6D-E12531C98F2B}"/>
                </a:ext>
              </a:extLst>
            </p:cNvPr>
            <p:cNvCxnSpPr/>
            <p:nvPr/>
          </p:nvCxnSpPr>
          <p:spPr>
            <a:xfrm flipV="1">
              <a:off x="11691938" y="-460390"/>
              <a:ext cx="0" cy="298579"/>
            </a:xfrm>
            <a:prstGeom prst="line">
              <a:avLst/>
            </a:prstGeom>
            <a:ln w="127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21B0B773-2456-421E-88AD-5BDE6AE70DD6}"/>
                </a:ext>
              </a:extLst>
            </p:cNvPr>
            <p:cNvCxnSpPr/>
            <p:nvPr/>
          </p:nvCxnSpPr>
          <p:spPr>
            <a:xfrm flipV="1">
              <a:off x="496953" y="-460390"/>
              <a:ext cx="0" cy="298579"/>
            </a:xfrm>
            <a:prstGeom prst="line">
              <a:avLst/>
            </a:prstGeom>
            <a:ln w="127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60A68A3A-0635-4F43-BA2C-5851E81FB4E5}"/>
                </a:ext>
              </a:extLst>
            </p:cNvPr>
            <p:cNvGrpSpPr/>
            <p:nvPr/>
          </p:nvGrpSpPr>
          <p:grpSpPr>
            <a:xfrm>
              <a:off x="5015676" y="-460390"/>
              <a:ext cx="250032" cy="298579"/>
              <a:chOff x="4064744" y="4163251"/>
              <a:chExt cx="250032" cy="298579"/>
            </a:xfrm>
          </p:grpSpPr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A1510E22-07F2-431C-9AE0-9C324064EE1B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EEB28B4D-AA6D-43C7-88A2-BCC85F19B05F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0CF7E8B5-622F-4BF0-84FB-6FF1209E1B37}"/>
                </a:ext>
              </a:extLst>
            </p:cNvPr>
            <p:cNvGrpSpPr/>
            <p:nvPr/>
          </p:nvGrpSpPr>
          <p:grpSpPr>
            <a:xfrm>
              <a:off x="8830680" y="-460390"/>
              <a:ext cx="250032" cy="298579"/>
              <a:chOff x="4064744" y="4163251"/>
              <a:chExt cx="250032" cy="298579"/>
            </a:xfrm>
          </p:grpSpPr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2E0374FC-F58E-4D64-A360-B31F7E507689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FEBD2373-920F-4A20-8101-EBE313602255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95344890-0CBB-4202-9B84-6E7E05C9758C}"/>
                </a:ext>
              </a:extLst>
            </p:cNvPr>
            <p:cNvGrpSpPr/>
            <p:nvPr/>
          </p:nvGrpSpPr>
          <p:grpSpPr>
            <a:xfrm>
              <a:off x="2154423" y="-460390"/>
              <a:ext cx="250032" cy="298579"/>
              <a:chOff x="4064744" y="4163251"/>
              <a:chExt cx="250032" cy="298579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7F042FB1-165C-440E-B77F-E292AFA64B0E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50BBFE8B-221F-4C1F-A5A4-2E939142690E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17C07F7F-02BB-48E5-BF4C-B6EE445706A8}"/>
                </a:ext>
              </a:extLst>
            </p:cNvPr>
            <p:cNvGrpSpPr/>
            <p:nvPr/>
          </p:nvGrpSpPr>
          <p:grpSpPr>
            <a:xfrm>
              <a:off x="5969427" y="-460390"/>
              <a:ext cx="250032" cy="298579"/>
              <a:chOff x="4064744" y="4163251"/>
              <a:chExt cx="250032" cy="298579"/>
            </a:xfrm>
          </p:grpSpPr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F88119E8-458B-487E-831B-9D94F51C7B9F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0E5D1344-D8EC-4227-B4BB-677DC19F6240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707EE5FF-2576-4FCB-9182-2554FB3F1F11}"/>
                </a:ext>
              </a:extLst>
            </p:cNvPr>
            <p:cNvGrpSpPr/>
            <p:nvPr/>
          </p:nvGrpSpPr>
          <p:grpSpPr>
            <a:xfrm>
              <a:off x="3108174" y="-460390"/>
              <a:ext cx="250032" cy="298579"/>
              <a:chOff x="4064744" y="4163251"/>
              <a:chExt cx="250032" cy="298579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E3537DD2-AF3A-4C5B-A26B-3A0AE4C0726E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512949BF-3BF1-4F97-887B-0EF07678E5A8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B0FE3B8D-DE34-413B-8685-B3267BF30B0A}"/>
                </a:ext>
              </a:extLst>
            </p:cNvPr>
            <p:cNvGrpSpPr/>
            <p:nvPr/>
          </p:nvGrpSpPr>
          <p:grpSpPr>
            <a:xfrm>
              <a:off x="6923178" y="-460390"/>
              <a:ext cx="250032" cy="298579"/>
              <a:chOff x="4064744" y="4163251"/>
              <a:chExt cx="250032" cy="298579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E0AB49DE-9843-42AE-A181-B8AA532C1F1A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50396B43-ED23-4636-B0EC-6600AC751ECE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96A4C146-789C-46C9-9990-98BA8700B6B2}"/>
                </a:ext>
              </a:extLst>
            </p:cNvPr>
            <p:cNvGrpSpPr/>
            <p:nvPr/>
          </p:nvGrpSpPr>
          <p:grpSpPr>
            <a:xfrm>
              <a:off x="9784431" y="-460390"/>
              <a:ext cx="250032" cy="298579"/>
              <a:chOff x="4064744" y="4163251"/>
              <a:chExt cx="250032" cy="298579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BBC805BC-769A-4780-92F9-387732D73767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8AD4B2AC-1438-4828-BA67-23B1E4959E53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AE3CDB29-21B3-426F-8811-CDFF7BA0BB9D}"/>
                </a:ext>
              </a:extLst>
            </p:cNvPr>
            <p:cNvGrpSpPr/>
            <p:nvPr/>
          </p:nvGrpSpPr>
          <p:grpSpPr>
            <a:xfrm>
              <a:off x="10738182" y="-460390"/>
              <a:ext cx="250032" cy="298579"/>
              <a:chOff x="4064744" y="4163251"/>
              <a:chExt cx="250032" cy="298579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3608AFE2-D125-4BAF-8B88-9FFD54F13482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5185F5C1-E2E4-44B0-AC93-E84867931145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F990C8D8-4DBC-48EB-A8BE-D38B8ADE5756}"/>
                </a:ext>
              </a:extLst>
            </p:cNvPr>
            <p:cNvGrpSpPr/>
            <p:nvPr/>
          </p:nvGrpSpPr>
          <p:grpSpPr>
            <a:xfrm>
              <a:off x="1200672" y="-460390"/>
              <a:ext cx="250032" cy="298579"/>
              <a:chOff x="4064744" y="4163251"/>
              <a:chExt cx="250032" cy="298579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7D95FD34-2539-4FDB-909A-4C1FC7A8A9DA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0F99285D-83CD-4C92-B5B0-2242E55F5A96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0063" y="2520000"/>
            <a:ext cx="11191875" cy="33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fld id="{C760B365-AB53-4341-95F1-BAC490D69CDA}" type="slidenum">
              <a:rPr lang="en-US" smtClean="0"/>
              <a:t>‹#›</a:t>
            </a:fld>
            <a:endParaRPr lang="en-US"/>
          </a:p>
        </p:txBody>
      </p:sp>
      <p:grpSp>
        <p:nvGrpSpPr>
          <p:cNvPr id="53" name="asurion logo">
            <a:extLst>
              <a:ext uri="{FF2B5EF4-FFF2-40B4-BE49-F238E27FC236}">
                <a16:creationId xmlns:a16="http://schemas.microsoft.com/office/drawing/2014/main" id="{0054DC85-FB4E-AF4F-A304-F50E7E8C3AB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1" y="6390186"/>
            <a:ext cx="918000" cy="213052"/>
            <a:chOff x="316" y="3952"/>
            <a:chExt cx="586" cy="136"/>
          </a:xfrm>
          <a:solidFill>
            <a:schemeClr val="tx1"/>
          </a:solidFill>
        </p:grpSpPr>
        <p:sp>
          <p:nvSpPr>
            <p:cNvPr id="56" name="Freeform 5">
              <a:extLst>
                <a:ext uri="{FF2B5EF4-FFF2-40B4-BE49-F238E27FC236}">
                  <a16:creationId xmlns:a16="http://schemas.microsoft.com/office/drawing/2014/main" id="{27514E15-DE5A-834F-9CD6-45C4817C65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58" name="Freeform 6">
              <a:extLst>
                <a:ext uri="{FF2B5EF4-FFF2-40B4-BE49-F238E27FC236}">
                  <a16:creationId xmlns:a16="http://schemas.microsoft.com/office/drawing/2014/main" id="{8CFA00F3-584A-D44A-ACED-67911C8C43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59" name="Freeform 7">
              <a:extLst>
                <a:ext uri="{FF2B5EF4-FFF2-40B4-BE49-F238E27FC236}">
                  <a16:creationId xmlns:a16="http://schemas.microsoft.com/office/drawing/2014/main" id="{4300FCF8-0ADE-F347-837A-0EF8F48B3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60" name="Freeform 8">
              <a:extLst>
                <a:ext uri="{FF2B5EF4-FFF2-40B4-BE49-F238E27FC236}">
                  <a16:creationId xmlns:a16="http://schemas.microsoft.com/office/drawing/2014/main" id="{4E9D92D8-69D2-5849-9754-890FBBC038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89" name="Freeform 9">
              <a:extLst>
                <a:ext uri="{FF2B5EF4-FFF2-40B4-BE49-F238E27FC236}">
                  <a16:creationId xmlns:a16="http://schemas.microsoft.com/office/drawing/2014/main" id="{E6273E3A-A4E9-FA4E-9427-5903B8CC9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90" name="Freeform 10">
              <a:extLst>
                <a:ext uri="{FF2B5EF4-FFF2-40B4-BE49-F238E27FC236}">
                  <a16:creationId xmlns:a16="http://schemas.microsoft.com/office/drawing/2014/main" id="{5281E602-33CA-D04A-ABF4-6EE04B721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91" name="Freeform 11">
              <a:extLst>
                <a:ext uri="{FF2B5EF4-FFF2-40B4-BE49-F238E27FC236}">
                  <a16:creationId xmlns:a16="http://schemas.microsoft.com/office/drawing/2014/main" id="{987BEF18-299F-F349-831D-8F73AD2D8A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  <p:sp>
        <p:nvSpPr>
          <p:cNvPr id="92" name="TextBox 91">
            <a:extLst>
              <a:ext uri="{FF2B5EF4-FFF2-40B4-BE49-F238E27FC236}">
                <a16:creationId xmlns:a16="http://schemas.microsoft.com/office/drawing/2014/main" id="{971FF768-C93A-5D42-BA7E-4409608F449A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432425" y="6684324"/>
            <a:ext cx="1165225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ctr"/>
            <a:r>
              <a:rPr lang="en-US" sz="800" err="1">
                <a:solidFill>
                  <a:srgbClr val="73737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urion_Internal_Use_Only</a:t>
            </a:r>
            <a:endParaRPr lang="en-US" sz="800">
              <a:solidFill>
                <a:srgbClr val="73737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2780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  <p:sldLayoutId id="2147483728" r:id="rId68"/>
    <p:sldLayoutId id="2147483729" r:id="rId69"/>
    <p:sldLayoutId id="2147483730" r:id="rId70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Calibri Light" panose="020F0302020204030204" pitchFamily="34" charset="0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None/>
        <a:defRPr sz="1400" b="1" kern="120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None/>
        <a:defRPr sz="1400" kern="1200" spc="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 spc="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200" kern="1200" spc="0">
          <a:solidFill>
            <a:schemeClr val="tx1"/>
          </a:solidFill>
          <a:latin typeface="+mn-lt"/>
          <a:ea typeface="+mn-ea"/>
          <a:cs typeface="+mn-cs"/>
        </a:defRPr>
      </a:lvl4pPr>
      <a:lvl5pPr marL="542925" indent="-180975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100" kern="1200" spc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61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315">
          <p15:clr>
            <a:srgbClr val="F26B43"/>
          </p15:clr>
        </p15:guide>
        <p15:guide id="4" pos="7365">
          <p15:clr>
            <a:srgbClr val="F26B43"/>
          </p15:clr>
        </p15:guide>
        <p15:guide id="5" pos="756">
          <p15:clr>
            <a:srgbClr val="F26B43"/>
          </p15:clr>
        </p15:guide>
        <p15:guide id="6" pos="914">
          <p15:clr>
            <a:srgbClr val="F26B43"/>
          </p15:clr>
        </p15:guide>
        <p15:guide id="7" pos="1358">
          <p15:clr>
            <a:srgbClr val="F26B43"/>
          </p15:clr>
        </p15:guide>
        <p15:guide id="8" pos="1515">
          <p15:clr>
            <a:srgbClr val="F26B43"/>
          </p15:clr>
        </p15:guide>
        <p15:guide id="9" pos="1958">
          <p15:clr>
            <a:srgbClr val="F26B43"/>
          </p15:clr>
        </p15:guide>
        <p15:guide id="10" pos="2115">
          <p15:clr>
            <a:srgbClr val="F26B43"/>
          </p15:clr>
        </p15:guide>
        <p15:guide id="11" pos="2559">
          <p15:clr>
            <a:srgbClr val="F26B43"/>
          </p15:clr>
        </p15:guide>
        <p15:guide id="12" pos="2717">
          <p15:clr>
            <a:srgbClr val="F26B43"/>
          </p15:clr>
        </p15:guide>
        <p15:guide id="13" pos="3159">
          <p15:clr>
            <a:srgbClr val="F26B43"/>
          </p15:clr>
        </p15:guide>
        <p15:guide id="14" pos="3317">
          <p15:clr>
            <a:srgbClr val="F26B43"/>
          </p15:clr>
        </p15:guide>
        <p15:guide id="15" pos="4361">
          <p15:clr>
            <a:srgbClr val="F26B43"/>
          </p15:clr>
        </p15:guide>
        <p15:guide id="16" pos="4518">
          <p15:clr>
            <a:srgbClr val="F26B43"/>
          </p15:clr>
        </p15:guide>
        <p15:guide id="17" pos="4962">
          <p15:clr>
            <a:srgbClr val="F26B43"/>
          </p15:clr>
        </p15:guide>
        <p15:guide id="18" pos="5120">
          <p15:clr>
            <a:srgbClr val="F26B43"/>
          </p15:clr>
        </p15:guide>
        <p15:guide id="19" pos="5562">
          <p15:clr>
            <a:srgbClr val="F26B43"/>
          </p15:clr>
        </p15:guide>
        <p15:guide id="20" pos="5720">
          <p15:clr>
            <a:srgbClr val="F26B43"/>
          </p15:clr>
        </p15:guide>
        <p15:guide id="21" pos="6164">
          <p15:clr>
            <a:srgbClr val="F26B43"/>
          </p15:clr>
        </p15:guide>
        <p15:guide id="22" pos="6321">
          <p15:clr>
            <a:srgbClr val="F26B43"/>
          </p15:clr>
        </p15:guide>
        <p15:guide id="23" pos="6764">
          <p15:clr>
            <a:srgbClr val="F26B43"/>
          </p15:clr>
        </p15:guide>
        <p15:guide id="24" pos="6921">
          <p15:clr>
            <a:srgbClr val="F26B43"/>
          </p15:clr>
        </p15:guide>
        <p15:guide id="25" orient="horz" pos="323">
          <p15:clr>
            <a:srgbClr val="F26B43"/>
          </p15:clr>
        </p15:guide>
        <p15:guide id="26" orient="horz" pos="4085">
          <p15:clr>
            <a:srgbClr val="F26B43"/>
          </p15:clr>
        </p15:guide>
        <p15:guide id="27" pos="3918">
          <p15:clr>
            <a:srgbClr val="F26B43"/>
          </p15:clr>
        </p15:guide>
        <p15:guide id="28" orient="horz" pos="795">
          <p15:clr>
            <a:srgbClr val="F26B43"/>
          </p15:clr>
        </p15:guide>
        <p15:guide id="30" orient="horz" pos="507">
          <p15:clr>
            <a:srgbClr val="F26B43"/>
          </p15:clr>
        </p15:guide>
        <p15:guide id="31" orient="horz" pos="3711">
          <p15:clr>
            <a:srgbClr val="F26B43"/>
          </p15:clr>
        </p15:guide>
        <p15:guide id="36" orient="horz" pos="1586">
          <p15:clr>
            <a:srgbClr val="F26B43"/>
          </p15:clr>
        </p15:guide>
        <p15:guide id="37" orient="horz" pos="959">
          <p15:clr>
            <a:srgbClr val="F26B43"/>
          </p15:clr>
        </p15:guide>
        <p15:guide id="38" orient="horz" pos="107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7D792CF-63D0-414B-B59F-6970026970C6}"/>
              </a:ext>
            </a:extLst>
          </p:cNvPr>
          <p:cNvGraphicFramePr>
            <a:graphicFrameLocks noChangeAspect="1"/>
          </p:cNvGraphicFramePr>
          <p:nvPr>
            <p:custDataLst>
              <p:tags r:id="rId70"/>
            </p:custDataLst>
            <p:extLst>
              <p:ext uri="{D42A27DB-BD31-4B8C-83A1-F6EECF244321}">
                <p14:modId xmlns:p14="http://schemas.microsoft.com/office/powerpoint/2010/main" val="2936484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72" imgW="360" imgH="360" progId="TCLayout.ActiveDocument.1">
                  <p:embed/>
                </p:oleObj>
              </mc:Choice>
              <mc:Fallback>
                <p:oleObj name="think-cell Slide" r:id="rId72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7D792CF-63D0-414B-B59F-6970026970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3CF38DF-5A54-4694-842C-56D90B95F2F1}"/>
              </a:ext>
            </a:extLst>
          </p:cNvPr>
          <p:cNvSpPr/>
          <p:nvPr>
            <p:custDataLst>
              <p:tags r:id="rId7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grpSp>
        <p:nvGrpSpPr>
          <p:cNvPr id="12" name="grid" hidden="1">
            <a:extLst>
              <a:ext uri="{FF2B5EF4-FFF2-40B4-BE49-F238E27FC236}">
                <a16:creationId xmlns:a16="http://schemas.microsoft.com/office/drawing/2014/main" id="{CB62F4A8-D16F-4ED4-8FB1-033DD30013A9}"/>
              </a:ext>
            </a:extLst>
          </p:cNvPr>
          <p:cNvGrpSpPr/>
          <p:nvPr/>
        </p:nvGrpSpPr>
        <p:grpSpPr>
          <a:xfrm>
            <a:off x="496953" y="-460390"/>
            <a:ext cx="11194985" cy="298579"/>
            <a:chOff x="496953" y="-460390"/>
            <a:chExt cx="11194985" cy="298579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71894BAE-7B52-43F3-AD46-8957D93FF5AB}"/>
                </a:ext>
              </a:extLst>
            </p:cNvPr>
            <p:cNvGrpSpPr/>
            <p:nvPr/>
          </p:nvGrpSpPr>
          <p:grpSpPr>
            <a:xfrm>
              <a:off x="4061925" y="-460390"/>
              <a:ext cx="250032" cy="298579"/>
              <a:chOff x="4064744" y="4163251"/>
              <a:chExt cx="250032" cy="298579"/>
            </a:xfrm>
          </p:grpSpPr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D69FFFF0-32A9-46BC-A379-334A55789281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F5309365-DA95-40B6-BE77-1DE527E38447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9B2BADEC-78DB-464B-937A-8F5A0553FC53}"/>
                </a:ext>
              </a:extLst>
            </p:cNvPr>
            <p:cNvGrpSpPr/>
            <p:nvPr/>
          </p:nvGrpSpPr>
          <p:grpSpPr>
            <a:xfrm>
              <a:off x="7876929" y="-460390"/>
              <a:ext cx="250032" cy="298579"/>
              <a:chOff x="4064744" y="4163251"/>
              <a:chExt cx="250032" cy="298579"/>
            </a:xfrm>
          </p:grpSpPr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3359999C-DB9A-40C8-A213-DE83FF39D2FF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0BC82D5E-5908-416C-A039-B3C5E9E76A20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9BD3A864-9244-44A2-BC6D-E12531C98F2B}"/>
                </a:ext>
              </a:extLst>
            </p:cNvPr>
            <p:cNvCxnSpPr/>
            <p:nvPr/>
          </p:nvCxnSpPr>
          <p:spPr>
            <a:xfrm flipV="1">
              <a:off x="11691938" y="-460390"/>
              <a:ext cx="0" cy="298579"/>
            </a:xfrm>
            <a:prstGeom prst="line">
              <a:avLst/>
            </a:prstGeom>
            <a:ln w="127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21B0B773-2456-421E-88AD-5BDE6AE70DD6}"/>
                </a:ext>
              </a:extLst>
            </p:cNvPr>
            <p:cNvCxnSpPr/>
            <p:nvPr/>
          </p:nvCxnSpPr>
          <p:spPr>
            <a:xfrm flipV="1">
              <a:off x="496953" y="-460390"/>
              <a:ext cx="0" cy="298579"/>
            </a:xfrm>
            <a:prstGeom prst="line">
              <a:avLst/>
            </a:prstGeom>
            <a:ln w="127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60A68A3A-0635-4F43-BA2C-5851E81FB4E5}"/>
                </a:ext>
              </a:extLst>
            </p:cNvPr>
            <p:cNvGrpSpPr/>
            <p:nvPr/>
          </p:nvGrpSpPr>
          <p:grpSpPr>
            <a:xfrm>
              <a:off x="5015676" y="-460390"/>
              <a:ext cx="250032" cy="298579"/>
              <a:chOff x="4064744" y="4163251"/>
              <a:chExt cx="250032" cy="298579"/>
            </a:xfrm>
          </p:grpSpPr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A1510E22-07F2-431C-9AE0-9C324064EE1B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EEB28B4D-AA6D-43C7-88A2-BCC85F19B05F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0CF7E8B5-622F-4BF0-84FB-6FF1209E1B37}"/>
                </a:ext>
              </a:extLst>
            </p:cNvPr>
            <p:cNvGrpSpPr/>
            <p:nvPr/>
          </p:nvGrpSpPr>
          <p:grpSpPr>
            <a:xfrm>
              <a:off x="8830680" y="-460390"/>
              <a:ext cx="250032" cy="298579"/>
              <a:chOff x="4064744" y="4163251"/>
              <a:chExt cx="250032" cy="298579"/>
            </a:xfrm>
          </p:grpSpPr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2E0374FC-F58E-4D64-A360-B31F7E507689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FEBD2373-920F-4A20-8101-EBE313602255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95344890-0CBB-4202-9B84-6E7E05C9758C}"/>
                </a:ext>
              </a:extLst>
            </p:cNvPr>
            <p:cNvGrpSpPr/>
            <p:nvPr/>
          </p:nvGrpSpPr>
          <p:grpSpPr>
            <a:xfrm>
              <a:off x="2154423" y="-460390"/>
              <a:ext cx="250032" cy="298579"/>
              <a:chOff x="4064744" y="4163251"/>
              <a:chExt cx="250032" cy="298579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7F042FB1-165C-440E-B77F-E292AFA64B0E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50BBFE8B-221F-4C1F-A5A4-2E939142690E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17C07F7F-02BB-48E5-BF4C-B6EE445706A8}"/>
                </a:ext>
              </a:extLst>
            </p:cNvPr>
            <p:cNvGrpSpPr/>
            <p:nvPr/>
          </p:nvGrpSpPr>
          <p:grpSpPr>
            <a:xfrm>
              <a:off x="5969427" y="-460390"/>
              <a:ext cx="250032" cy="298579"/>
              <a:chOff x="4064744" y="4163251"/>
              <a:chExt cx="250032" cy="298579"/>
            </a:xfrm>
          </p:grpSpPr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F88119E8-458B-487E-831B-9D94F51C7B9F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0E5D1344-D8EC-4227-B4BB-677DC19F6240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707EE5FF-2576-4FCB-9182-2554FB3F1F11}"/>
                </a:ext>
              </a:extLst>
            </p:cNvPr>
            <p:cNvGrpSpPr/>
            <p:nvPr/>
          </p:nvGrpSpPr>
          <p:grpSpPr>
            <a:xfrm>
              <a:off x="3108174" y="-460390"/>
              <a:ext cx="250032" cy="298579"/>
              <a:chOff x="4064744" y="4163251"/>
              <a:chExt cx="250032" cy="298579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E3537DD2-AF3A-4C5B-A26B-3A0AE4C0726E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512949BF-3BF1-4F97-887B-0EF07678E5A8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B0FE3B8D-DE34-413B-8685-B3267BF30B0A}"/>
                </a:ext>
              </a:extLst>
            </p:cNvPr>
            <p:cNvGrpSpPr/>
            <p:nvPr/>
          </p:nvGrpSpPr>
          <p:grpSpPr>
            <a:xfrm>
              <a:off x="6923178" y="-460390"/>
              <a:ext cx="250032" cy="298579"/>
              <a:chOff x="4064744" y="4163251"/>
              <a:chExt cx="250032" cy="298579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E0AB49DE-9843-42AE-A181-B8AA532C1F1A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50396B43-ED23-4636-B0EC-6600AC751ECE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96A4C146-789C-46C9-9990-98BA8700B6B2}"/>
                </a:ext>
              </a:extLst>
            </p:cNvPr>
            <p:cNvGrpSpPr/>
            <p:nvPr/>
          </p:nvGrpSpPr>
          <p:grpSpPr>
            <a:xfrm>
              <a:off x="9784431" y="-460390"/>
              <a:ext cx="250032" cy="298579"/>
              <a:chOff x="4064744" y="4163251"/>
              <a:chExt cx="250032" cy="298579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BBC805BC-769A-4780-92F9-387732D73767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8AD4B2AC-1438-4828-BA67-23B1E4959E53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AE3CDB29-21B3-426F-8811-CDFF7BA0BB9D}"/>
                </a:ext>
              </a:extLst>
            </p:cNvPr>
            <p:cNvGrpSpPr/>
            <p:nvPr/>
          </p:nvGrpSpPr>
          <p:grpSpPr>
            <a:xfrm>
              <a:off x="10738182" y="-460390"/>
              <a:ext cx="250032" cy="298579"/>
              <a:chOff x="4064744" y="4163251"/>
              <a:chExt cx="250032" cy="298579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3608AFE2-D125-4BAF-8B88-9FFD54F13482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5185F5C1-E2E4-44B0-AC93-E84867931145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F990C8D8-4DBC-48EB-A8BE-D38B8ADE5756}"/>
                </a:ext>
              </a:extLst>
            </p:cNvPr>
            <p:cNvGrpSpPr/>
            <p:nvPr/>
          </p:nvGrpSpPr>
          <p:grpSpPr>
            <a:xfrm>
              <a:off x="1200672" y="-460390"/>
              <a:ext cx="250032" cy="298579"/>
              <a:chOff x="4064744" y="4163251"/>
              <a:chExt cx="250032" cy="298579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7D95FD34-2539-4FDB-909A-4C1FC7A8A9DA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0F99285D-83CD-4C92-B5B0-2242E55F5A96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0063" y="2520000"/>
            <a:ext cx="11191875" cy="33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t>Asurion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grpSp>
        <p:nvGrpSpPr>
          <p:cNvPr id="53" name="asurion logo">
            <a:extLst>
              <a:ext uri="{FF2B5EF4-FFF2-40B4-BE49-F238E27FC236}">
                <a16:creationId xmlns:a16="http://schemas.microsoft.com/office/drawing/2014/main" id="{0054DC85-FB4E-AF4F-A304-F50E7E8C3AB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1" y="6390186"/>
            <a:ext cx="918000" cy="213052"/>
            <a:chOff x="316" y="3952"/>
            <a:chExt cx="586" cy="136"/>
          </a:xfrm>
          <a:solidFill>
            <a:schemeClr val="tx1"/>
          </a:solidFill>
        </p:grpSpPr>
        <p:sp>
          <p:nvSpPr>
            <p:cNvPr id="56" name="Freeform 5">
              <a:extLst>
                <a:ext uri="{FF2B5EF4-FFF2-40B4-BE49-F238E27FC236}">
                  <a16:creationId xmlns:a16="http://schemas.microsoft.com/office/drawing/2014/main" id="{27514E15-DE5A-834F-9CD6-45C4817C65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990"/>
              <a:ext cx="66" cy="98"/>
            </a:xfrm>
            <a:custGeom>
              <a:avLst/>
              <a:gdLst>
                <a:gd name="T0" fmla="*/ 662 w 2176"/>
                <a:gd name="T1" fmla="*/ 2151 h 3230"/>
                <a:gd name="T2" fmla="*/ 1079 w 2176"/>
                <a:gd name="T3" fmla="*/ 2574 h 3230"/>
                <a:gd name="T4" fmla="*/ 1483 w 2176"/>
                <a:gd name="T5" fmla="*/ 2183 h 3230"/>
                <a:gd name="T6" fmla="*/ 864 w 2176"/>
                <a:gd name="T7" fmla="*/ 1716 h 3230"/>
                <a:gd name="T8" fmla="*/ 208 w 2176"/>
                <a:gd name="T9" fmla="*/ 870 h 3230"/>
                <a:gd name="T10" fmla="*/ 1079 w 2176"/>
                <a:gd name="T11" fmla="*/ 0 h 3230"/>
                <a:gd name="T12" fmla="*/ 1830 w 2176"/>
                <a:gd name="T13" fmla="*/ 404 h 3230"/>
                <a:gd name="T14" fmla="*/ 1400 w 2176"/>
                <a:gd name="T15" fmla="*/ 826 h 3230"/>
                <a:gd name="T16" fmla="*/ 1123 w 2176"/>
                <a:gd name="T17" fmla="*/ 618 h 3230"/>
                <a:gd name="T18" fmla="*/ 871 w 2176"/>
                <a:gd name="T19" fmla="*/ 870 h 3230"/>
                <a:gd name="T20" fmla="*/ 1565 w 2176"/>
                <a:gd name="T21" fmla="*/ 1268 h 3230"/>
                <a:gd name="T22" fmla="*/ 2176 w 2176"/>
                <a:gd name="T23" fmla="*/ 2170 h 3230"/>
                <a:gd name="T24" fmla="*/ 1079 w 2176"/>
                <a:gd name="T25" fmla="*/ 3230 h 3230"/>
                <a:gd name="T26" fmla="*/ 0 w 2176"/>
                <a:gd name="T27" fmla="*/ 2151 h 3230"/>
                <a:gd name="T28" fmla="*/ 662 w 2176"/>
                <a:gd name="T29" fmla="*/ 215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6" h="323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58" name="Freeform 6">
              <a:extLst>
                <a:ext uri="{FF2B5EF4-FFF2-40B4-BE49-F238E27FC236}">
                  <a16:creationId xmlns:a16="http://schemas.microsoft.com/office/drawing/2014/main" id="{8CFA00F3-584A-D44A-ACED-67911C8C43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3991"/>
              <a:ext cx="85" cy="97"/>
            </a:xfrm>
            <a:custGeom>
              <a:avLst/>
              <a:gdLst>
                <a:gd name="T0" fmla="*/ 2769 w 2769"/>
                <a:gd name="T1" fmla="*/ 3154 h 3192"/>
                <a:gd name="T2" fmla="*/ 2076 w 2769"/>
                <a:gd name="T3" fmla="*/ 3154 h 3192"/>
                <a:gd name="T4" fmla="*/ 2076 w 2769"/>
                <a:gd name="T5" fmla="*/ 2794 h 3192"/>
                <a:gd name="T6" fmla="*/ 1211 w 2769"/>
                <a:gd name="T7" fmla="*/ 3192 h 3192"/>
                <a:gd name="T8" fmla="*/ 0 w 2769"/>
                <a:gd name="T9" fmla="*/ 1892 h 3192"/>
                <a:gd name="T10" fmla="*/ 0 w 2769"/>
                <a:gd name="T11" fmla="*/ 0 h 3192"/>
                <a:gd name="T12" fmla="*/ 694 w 2769"/>
                <a:gd name="T13" fmla="*/ 0 h 3192"/>
                <a:gd name="T14" fmla="*/ 694 w 2769"/>
                <a:gd name="T15" fmla="*/ 1741 h 3192"/>
                <a:gd name="T16" fmla="*/ 1381 w 2769"/>
                <a:gd name="T17" fmla="*/ 2536 h 3192"/>
                <a:gd name="T18" fmla="*/ 2076 w 2769"/>
                <a:gd name="T19" fmla="*/ 1741 h 3192"/>
                <a:gd name="T20" fmla="*/ 2076 w 2769"/>
                <a:gd name="T21" fmla="*/ 0 h 3192"/>
                <a:gd name="T22" fmla="*/ 2769 w 2769"/>
                <a:gd name="T23" fmla="*/ 0 h 3192"/>
                <a:gd name="T24" fmla="*/ 2769 w 2769"/>
                <a:gd name="T25" fmla="*/ 3154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9" h="3192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59" name="Freeform 7">
              <a:extLst>
                <a:ext uri="{FF2B5EF4-FFF2-40B4-BE49-F238E27FC236}">
                  <a16:creationId xmlns:a16="http://schemas.microsoft.com/office/drawing/2014/main" id="{4300FCF8-0ADE-F347-837A-0EF8F48B3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3990"/>
              <a:ext cx="46" cy="97"/>
            </a:xfrm>
            <a:custGeom>
              <a:avLst/>
              <a:gdLst>
                <a:gd name="T0" fmla="*/ 0 w 1508"/>
                <a:gd name="T1" fmla="*/ 38 h 3192"/>
                <a:gd name="T2" fmla="*/ 694 w 1508"/>
                <a:gd name="T3" fmla="*/ 38 h 3192"/>
                <a:gd name="T4" fmla="*/ 694 w 1508"/>
                <a:gd name="T5" fmla="*/ 366 h 3192"/>
                <a:gd name="T6" fmla="*/ 1508 w 1508"/>
                <a:gd name="T7" fmla="*/ 0 h 3192"/>
                <a:gd name="T8" fmla="*/ 1508 w 1508"/>
                <a:gd name="T9" fmla="*/ 669 h 3192"/>
                <a:gd name="T10" fmla="*/ 1445 w 1508"/>
                <a:gd name="T11" fmla="*/ 669 h 3192"/>
                <a:gd name="T12" fmla="*/ 694 w 1508"/>
                <a:gd name="T13" fmla="*/ 1451 h 3192"/>
                <a:gd name="T14" fmla="*/ 694 w 1508"/>
                <a:gd name="T15" fmla="*/ 3192 h 3192"/>
                <a:gd name="T16" fmla="*/ 0 w 1508"/>
                <a:gd name="T17" fmla="*/ 3192 h 3192"/>
                <a:gd name="T18" fmla="*/ 0 w 1508"/>
                <a:gd name="T19" fmla="*/ 38 h 3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8" h="3192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60" name="Freeform 8">
              <a:extLst>
                <a:ext uri="{FF2B5EF4-FFF2-40B4-BE49-F238E27FC236}">
                  <a16:creationId xmlns:a16="http://schemas.microsoft.com/office/drawing/2014/main" id="{4E9D92D8-69D2-5849-9754-890FBBC038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" y="3952"/>
              <a:ext cx="28" cy="135"/>
            </a:xfrm>
            <a:custGeom>
              <a:avLst/>
              <a:gdLst>
                <a:gd name="T0" fmla="*/ 467 w 934"/>
                <a:gd name="T1" fmla="*/ 0 h 4454"/>
                <a:gd name="T2" fmla="*/ 934 w 934"/>
                <a:gd name="T3" fmla="*/ 473 h 4454"/>
                <a:gd name="T4" fmla="*/ 467 w 934"/>
                <a:gd name="T5" fmla="*/ 946 h 4454"/>
                <a:gd name="T6" fmla="*/ 0 w 934"/>
                <a:gd name="T7" fmla="*/ 473 h 4454"/>
                <a:gd name="T8" fmla="*/ 467 w 934"/>
                <a:gd name="T9" fmla="*/ 0 h 4454"/>
                <a:gd name="T10" fmla="*/ 120 w 934"/>
                <a:gd name="T11" fmla="*/ 1300 h 4454"/>
                <a:gd name="T12" fmla="*/ 814 w 934"/>
                <a:gd name="T13" fmla="*/ 1300 h 4454"/>
                <a:gd name="T14" fmla="*/ 814 w 934"/>
                <a:gd name="T15" fmla="*/ 4454 h 4454"/>
                <a:gd name="T16" fmla="*/ 120 w 934"/>
                <a:gd name="T17" fmla="*/ 4454 h 4454"/>
                <a:gd name="T18" fmla="*/ 120 w 934"/>
                <a:gd name="T19" fmla="*/ 1300 h 4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4" h="4454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89" name="Freeform 9">
              <a:extLst>
                <a:ext uri="{FF2B5EF4-FFF2-40B4-BE49-F238E27FC236}">
                  <a16:creationId xmlns:a16="http://schemas.microsoft.com/office/drawing/2014/main" id="{E6273E3A-A4E9-FA4E-9427-5903B8CC9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" y="3990"/>
              <a:ext cx="98" cy="98"/>
            </a:xfrm>
            <a:custGeom>
              <a:avLst/>
              <a:gdLst>
                <a:gd name="T0" fmla="*/ 1615 w 3231"/>
                <a:gd name="T1" fmla="*/ 0 h 3230"/>
                <a:gd name="T2" fmla="*/ 3231 w 3231"/>
                <a:gd name="T3" fmla="*/ 1615 h 3230"/>
                <a:gd name="T4" fmla="*/ 1615 w 3231"/>
                <a:gd name="T5" fmla="*/ 3230 h 3230"/>
                <a:gd name="T6" fmla="*/ 0 w 3231"/>
                <a:gd name="T7" fmla="*/ 1615 h 3230"/>
                <a:gd name="T8" fmla="*/ 1615 w 3231"/>
                <a:gd name="T9" fmla="*/ 0 h 3230"/>
                <a:gd name="T10" fmla="*/ 1615 w 3231"/>
                <a:gd name="T11" fmla="*/ 2561 h 3230"/>
                <a:gd name="T12" fmla="*/ 2524 w 3231"/>
                <a:gd name="T13" fmla="*/ 1615 h 3230"/>
                <a:gd name="T14" fmla="*/ 1615 w 3231"/>
                <a:gd name="T15" fmla="*/ 668 h 3230"/>
                <a:gd name="T16" fmla="*/ 707 w 3231"/>
                <a:gd name="T17" fmla="*/ 1615 h 3230"/>
                <a:gd name="T18" fmla="*/ 1615 w 3231"/>
                <a:gd name="T19" fmla="*/ 2561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31" h="323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90" name="Freeform 10">
              <a:extLst>
                <a:ext uri="{FF2B5EF4-FFF2-40B4-BE49-F238E27FC236}">
                  <a16:creationId xmlns:a16="http://schemas.microsoft.com/office/drawing/2014/main" id="{5281E602-33CA-D04A-ABF4-6EE04B721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3990"/>
              <a:ext cx="88" cy="97"/>
            </a:xfrm>
            <a:custGeom>
              <a:avLst/>
              <a:gdLst>
                <a:gd name="T0" fmla="*/ 2893 w 2893"/>
                <a:gd name="T1" fmla="*/ 3211 h 3211"/>
                <a:gd name="T2" fmla="*/ 2214 w 2893"/>
                <a:gd name="T3" fmla="*/ 3211 h 3211"/>
                <a:gd name="T4" fmla="*/ 2214 w 2893"/>
                <a:gd name="T5" fmla="*/ 1447 h 3211"/>
                <a:gd name="T6" fmla="*/ 1446 w 2893"/>
                <a:gd name="T7" fmla="*/ 679 h 3211"/>
                <a:gd name="T8" fmla="*/ 679 w 2893"/>
                <a:gd name="T9" fmla="*/ 1447 h 3211"/>
                <a:gd name="T10" fmla="*/ 679 w 2893"/>
                <a:gd name="T11" fmla="*/ 3211 h 3211"/>
                <a:gd name="T12" fmla="*/ 0 w 2893"/>
                <a:gd name="T13" fmla="*/ 3211 h 3211"/>
                <a:gd name="T14" fmla="*/ 0 w 2893"/>
                <a:gd name="T15" fmla="*/ 1447 h 3211"/>
                <a:gd name="T16" fmla="*/ 1446 w 2893"/>
                <a:gd name="T17" fmla="*/ 0 h 3211"/>
                <a:gd name="T18" fmla="*/ 2893 w 2893"/>
                <a:gd name="T19" fmla="*/ 1447 h 3211"/>
                <a:gd name="T20" fmla="*/ 2893 w 2893"/>
                <a:gd name="T21" fmla="*/ 3211 h 3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3" h="3211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91" name="Freeform 11">
              <a:extLst>
                <a:ext uri="{FF2B5EF4-FFF2-40B4-BE49-F238E27FC236}">
                  <a16:creationId xmlns:a16="http://schemas.microsoft.com/office/drawing/2014/main" id="{987BEF18-299F-F349-831D-8F73AD2D8A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3990"/>
              <a:ext cx="98" cy="98"/>
            </a:xfrm>
            <a:custGeom>
              <a:avLst/>
              <a:gdLst>
                <a:gd name="T0" fmla="*/ 1615 w 3230"/>
                <a:gd name="T1" fmla="*/ 0 h 3230"/>
                <a:gd name="T2" fmla="*/ 0 w 3230"/>
                <a:gd name="T3" fmla="*/ 1615 h 3230"/>
                <a:gd name="T4" fmla="*/ 1615 w 3230"/>
                <a:gd name="T5" fmla="*/ 3230 h 3230"/>
                <a:gd name="T6" fmla="*/ 2536 w 3230"/>
                <a:gd name="T7" fmla="*/ 2832 h 3230"/>
                <a:gd name="T8" fmla="*/ 2536 w 3230"/>
                <a:gd name="T9" fmla="*/ 3192 h 3230"/>
                <a:gd name="T10" fmla="*/ 3230 w 3230"/>
                <a:gd name="T11" fmla="*/ 3192 h 3230"/>
                <a:gd name="T12" fmla="*/ 3230 w 3230"/>
                <a:gd name="T13" fmla="*/ 1615 h 3230"/>
                <a:gd name="T14" fmla="*/ 1615 w 3230"/>
                <a:gd name="T15" fmla="*/ 0 h 3230"/>
                <a:gd name="T16" fmla="*/ 1615 w 3230"/>
                <a:gd name="T17" fmla="*/ 2536 h 3230"/>
                <a:gd name="T18" fmla="*/ 694 w 3230"/>
                <a:gd name="T19" fmla="*/ 1615 h 3230"/>
                <a:gd name="T20" fmla="*/ 1615 w 3230"/>
                <a:gd name="T21" fmla="*/ 694 h 3230"/>
                <a:gd name="T22" fmla="*/ 2536 w 3230"/>
                <a:gd name="T23" fmla="*/ 1615 h 3230"/>
                <a:gd name="T24" fmla="*/ 1615 w 3230"/>
                <a:gd name="T25" fmla="*/ 2536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0" h="323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  <p:sp>
        <p:nvSpPr>
          <p:cNvPr id="4" name="MSIPCMContentMarking" descr="{&quot;HashCode&quot;:-1613636121,&quot;Placement&quot;:&quot;Footer&quot;,&quot;Top&quot;:522.0343,&quot;Left&quot;:424.873322,&quot;SlideWidth&quot;:960,&quot;SlideHeight&quot;:540}">
            <a:extLst>
              <a:ext uri="{FF2B5EF4-FFF2-40B4-BE49-F238E27FC236}">
                <a16:creationId xmlns:a16="http://schemas.microsoft.com/office/drawing/2014/main" id="{1F4C884E-F3B3-4F32-B9A3-2503675E7391}"/>
              </a:ext>
            </a:extLst>
          </p:cNvPr>
          <p:cNvSpPr txBox="1"/>
          <p:nvPr/>
        </p:nvSpPr>
        <p:spPr>
          <a:xfrm>
            <a:off x="5395891" y="6629836"/>
            <a:ext cx="1400218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 err="1">
                <a:solidFill>
                  <a:srgbClr val="737373"/>
                </a:solidFill>
                <a:latin typeface="Calibri" panose="020F0502020204030204" pitchFamily="34" charset="0"/>
                <a:cs typeface="Georgia"/>
              </a:rPr>
              <a:t>Asurion_Internal_Use_Only</a:t>
            </a:r>
            <a:endParaRPr lang="en-US" sz="800">
              <a:solidFill>
                <a:srgbClr val="737373"/>
              </a:solidFill>
              <a:latin typeface="Calibri" panose="020F0502020204030204" pitchFamily="34" charset="0"/>
              <a:cs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2333546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  <p:sldLayoutId id="2147483745" r:id="rId14"/>
    <p:sldLayoutId id="2147483746" r:id="rId15"/>
    <p:sldLayoutId id="2147483747" r:id="rId16"/>
    <p:sldLayoutId id="2147483748" r:id="rId17"/>
    <p:sldLayoutId id="2147483749" r:id="rId18"/>
    <p:sldLayoutId id="2147483750" r:id="rId19"/>
    <p:sldLayoutId id="2147483751" r:id="rId20"/>
    <p:sldLayoutId id="2147483752" r:id="rId21"/>
    <p:sldLayoutId id="2147483753" r:id="rId22"/>
    <p:sldLayoutId id="2147483754" r:id="rId23"/>
    <p:sldLayoutId id="2147483755" r:id="rId24"/>
    <p:sldLayoutId id="2147483756" r:id="rId25"/>
    <p:sldLayoutId id="2147483757" r:id="rId26"/>
    <p:sldLayoutId id="2147483758" r:id="rId27"/>
    <p:sldLayoutId id="2147483759" r:id="rId28"/>
    <p:sldLayoutId id="2147483760" r:id="rId29"/>
    <p:sldLayoutId id="2147483761" r:id="rId30"/>
    <p:sldLayoutId id="2147483762" r:id="rId31"/>
    <p:sldLayoutId id="2147483763" r:id="rId32"/>
    <p:sldLayoutId id="2147483764" r:id="rId33"/>
    <p:sldLayoutId id="2147483765" r:id="rId34"/>
    <p:sldLayoutId id="2147483766" r:id="rId35"/>
    <p:sldLayoutId id="2147483767" r:id="rId36"/>
    <p:sldLayoutId id="2147483768" r:id="rId37"/>
    <p:sldLayoutId id="2147483769" r:id="rId38"/>
    <p:sldLayoutId id="2147483770" r:id="rId39"/>
    <p:sldLayoutId id="2147483771" r:id="rId40"/>
    <p:sldLayoutId id="2147483772" r:id="rId41"/>
    <p:sldLayoutId id="2147483773" r:id="rId42"/>
    <p:sldLayoutId id="2147483774" r:id="rId43"/>
    <p:sldLayoutId id="2147483775" r:id="rId44"/>
    <p:sldLayoutId id="2147483776" r:id="rId45"/>
    <p:sldLayoutId id="2147483777" r:id="rId46"/>
    <p:sldLayoutId id="2147483778" r:id="rId47"/>
    <p:sldLayoutId id="2147483779" r:id="rId48"/>
    <p:sldLayoutId id="2147483780" r:id="rId49"/>
    <p:sldLayoutId id="2147483781" r:id="rId50"/>
    <p:sldLayoutId id="2147483782" r:id="rId51"/>
    <p:sldLayoutId id="2147483783" r:id="rId52"/>
    <p:sldLayoutId id="2147483784" r:id="rId53"/>
    <p:sldLayoutId id="2147483785" r:id="rId54"/>
    <p:sldLayoutId id="2147483786" r:id="rId55"/>
    <p:sldLayoutId id="2147483787" r:id="rId56"/>
    <p:sldLayoutId id="2147483788" r:id="rId57"/>
    <p:sldLayoutId id="2147483789" r:id="rId58"/>
    <p:sldLayoutId id="2147483790" r:id="rId59"/>
    <p:sldLayoutId id="2147483791" r:id="rId60"/>
    <p:sldLayoutId id="2147483792" r:id="rId61"/>
    <p:sldLayoutId id="2147483793" r:id="rId62"/>
    <p:sldLayoutId id="2147483794" r:id="rId63"/>
    <p:sldLayoutId id="2147483795" r:id="rId64"/>
    <p:sldLayoutId id="2147483796" r:id="rId65"/>
    <p:sldLayoutId id="2147483797" r:id="rId66"/>
    <p:sldLayoutId id="2147483798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Calibri Light" panose="020F0302020204030204" pitchFamily="34" charset="0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None/>
        <a:defRPr sz="1400" b="1" kern="120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None/>
        <a:defRPr sz="1400" kern="1200" spc="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 spc="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200" kern="1200" spc="0">
          <a:solidFill>
            <a:schemeClr val="tx1"/>
          </a:solidFill>
          <a:latin typeface="+mn-lt"/>
          <a:ea typeface="+mn-ea"/>
          <a:cs typeface="+mn-cs"/>
        </a:defRPr>
      </a:lvl4pPr>
      <a:lvl5pPr marL="542925" indent="-180975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100" kern="1200" spc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61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315">
          <p15:clr>
            <a:srgbClr val="F26B43"/>
          </p15:clr>
        </p15:guide>
        <p15:guide id="4" pos="7365">
          <p15:clr>
            <a:srgbClr val="F26B43"/>
          </p15:clr>
        </p15:guide>
        <p15:guide id="5" pos="756">
          <p15:clr>
            <a:srgbClr val="F26B43"/>
          </p15:clr>
        </p15:guide>
        <p15:guide id="6" pos="914">
          <p15:clr>
            <a:srgbClr val="F26B43"/>
          </p15:clr>
        </p15:guide>
        <p15:guide id="7" pos="1358">
          <p15:clr>
            <a:srgbClr val="F26B43"/>
          </p15:clr>
        </p15:guide>
        <p15:guide id="8" pos="1515">
          <p15:clr>
            <a:srgbClr val="F26B43"/>
          </p15:clr>
        </p15:guide>
        <p15:guide id="9" pos="1958">
          <p15:clr>
            <a:srgbClr val="F26B43"/>
          </p15:clr>
        </p15:guide>
        <p15:guide id="10" pos="2115">
          <p15:clr>
            <a:srgbClr val="F26B43"/>
          </p15:clr>
        </p15:guide>
        <p15:guide id="11" pos="2559">
          <p15:clr>
            <a:srgbClr val="F26B43"/>
          </p15:clr>
        </p15:guide>
        <p15:guide id="12" pos="2717">
          <p15:clr>
            <a:srgbClr val="F26B43"/>
          </p15:clr>
        </p15:guide>
        <p15:guide id="13" pos="3159">
          <p15:clr>
            <a:srgbClr val="F26B43"/>
          </p15:clr>
        </p15:guide>
        <p15:guide id="14" pos="3317">
          <p15:clr>
            <a:srgbClr val="F26B43"/>
          </p15:clr>
        </p15:guide>
        <p15:guide id="15" pos="4361">
          <p15:clr>
            <a:srgbClr val="F26B43"/>
          </p15:clr>
        </p15:guide>
        <p15:guide id="16" pos="4518">
          <p15:clr>
            <a:srgbClr val="F26B43"/>
          </p15:clr>
        </p15:guide>
        <p15:guide id="17" pos="4962">
          <p15:clr>
            <a:srgbClr val="F26B43"/>
          </p15:clr>
        </p15:guide>
        <p15:guide id="18" pos="5120">
          <p15:clr>
            <a:srgbClr val="F26B43"/>
          </p15:clr>
        </p15:guide>
        <p15:guide id="19" pos="5562">
          <p15:clr>
            <a:srgbClr val="F26B43"/>
          </p15:clr>
        </p15:guide>
        <p15:guide id="20" pos="5720">
          <p15:clr>
            <a:srgbClr val="F26B43"/>
          </p15:clr>
        </p15:guide>
        <p15:guide id="21" pos="6164">
          <p15:clr>
            <a:srgbClr val="F26B43"/>
          </p15:clr>
        </p15:guide>
        <p15:guide id="22" pos="6321">
          <p15:clr>
            <a:srgbClr val="F26B43"/>
          </p15:clr>
        </p15:guide>
        <p15:guide id="23" pos="6764">
          <p15:clr>
            <a:srgbClr val="F26B43"/>
          </p15:clr>
        </p15:guide>
        <p15:guide id="24" pos="6921">
          <p15:clr>
            <a:srgbClr val="F26B43"/>
          </p15:clr>
        </p15:guide>
        <p15:guide id="25" orient="horz" pos="323">
          <p15:clr>
            <a:srgbClr val="F26B43"/>
          </p15:clr>
        </p15:guide>
        <p15:guide id="26" orient="horz" pos="4085">
          <p15:clr>
            <a:srgbClr val="F26B43"/>
          </p15:clr>
        </p15:guide>
        <p15:guide id="27" pos="3918">
          <p15:clr>
            <a:srgbClr val="F26B43"/>
          </p15:clr>
        </p15:guide>
        <p15:guide id="28" orient="horz" pos="795">
          <p15:clr>
            <a:srgbClr val="F26B43"/>
          </p15:clr>
        </p15:guide>
        <p15:guide id="30" orient="horz" pos="507">
          <p15:clr>
            <a:srgbClr val="F26B43"/>
          </p15:clr>
        </p15:guide>
        <p15:guide id="31" orient="horz" pos="3711">
          <p15:clr>
            <a:srgbClr val="F26B43"/>
          </p15:clr>
        </p15:guide>
        <p15:guide id="36" orient="horz" pos="1586">
          <p15:clr>
            <a:srgbClr val="F26B43"/>
          </p15:clr>
        </p15:guide>
        <p15:guide id="37" orient="horz" pos="959">
          <p15:clr>
            <a:srgbClr val="F26B43"/>
          </p15:clr>
        </p15:guide>
        <p15:guide id="38" orient="horz" pos="107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6ED014D-BF96-6E47-A052-287D6795CA22}"/>
              </a:ext>
            </a:extLst>
          </p:cNvPr>
          <p:cNvPicPr>
            <a:picLocks noChangeAspect="1"/>
          </p:cNvPicPr>
          <p:nvPr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61" y="6390186"/>
            <a:ext cx="918000" cy="332775"/>
          </a:xfrm>
          <a:prstGeom prst="rect">
            <a:avLst/>
          </a:prstGeom>
        </p:spPr>
      </p:pic>
      <p:grpSp>
        <p:nvGrpSpPr>
          <p:cNvPr id="12" name="grid" hidden="1">
            <a:extLst>
              <a:ext uri="{FF2B5EF4-FFF2-40B4-BE49-F238E27FC236}">
                <a16:creationId xmlns:a16="http://schemas.microsoft.com/office/drawing/2014/main" id="{CB62F4A8-D16F-4ED4-8FB1-033DD30013A9}"/>
              </a:ext>
            </a:extLst>
          </p:cNvPr>
          <p:cNvGrpSpPr/>
          <p:nvPr/>
        </p:nvGrpSpPr>
        <p:grpSpPr>
          <a:xfrm>
            <a:off x="496953" y="-460390"/>
            <a:ext cx="11194985" cy="298579"/>
            <a:chOff x="496953" y="-460390"/>
            <a:chExt cx="11194985" cy="298579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71894BAE-7B52-43F3-AD46-8957D93FF5AB}"/>
                </a:ext>
              </a:extLst>
            </p:cNvPr>
            <p:cNvGrpSpPr/>
            <p:nvPr/>
          </p:nvGrpSpPr>
          <p:grpSpPr>
            <a:xfrm>
              <a:off x="4061925" y="-460390"/>
              <a:ext cx="250032" cy="298579"/>
              <a:chOff x="4064744" y="4163251"/>
              <a:chExt cx="250032" cy="298579"/>
            </a:xfrm>
          </p:grpSpPr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D69FFFF0-32A9-46BC-A379-334A55789281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F5309365-DA95-40B6-BE77-1DE527E38447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9B2BADEC-78DB-464B-937A-8F5A0553FC53}"/>
                </a:ext>
              </a:extLst>
            </p:cNvPr>
            <p:cNvGrpSpPr/>
            <p:nvPr/>
          </p:nvGrpSpPr>
          <p:grpSpPr>
            <a:xfrm>
              <a:off x="7876929" y="-460390"/>
              <a:ext cx="250032" cy="298579"/>
              <a:chOff x="4064744" y="4163251"/>
              <a:chExt cx="250032" cy="298579"/>
            </a:xfrm>
          </p:grpSpPr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3359999C-DB9A-40C8-A213-DE83FF39D2FF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0BC82D5E-5908-416C-A039-B3C5E9E76A20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9BD3A864-9244-44A2-BC6D-E12531C98F2B}"/>
                </a:ext>
              </a:extLst>
            </p:cNvPr>
            <p:cNvCxnSpPr/>
            <p:nvPr/>
          </p:nvCxnSpPr>
          <p:spPr>
            <a:xfrm flipV="1">
              <a:off x="11691938" y="-460390"/>
              <a:ext cx="0" cy="298579"/>
            </a:xfrm>
            <a:prstGeom prst="line">
              <a:avLst/>
            </a:prstGeom>
            <a:ln w="127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21B0B773-2456-421E-88AD-5BDE6AE70DD6}"/>
                </a:ext>
              </a:extLst>
            </p:cNvPr>
            <p:cNvCxnSpPr/>
            <p:nvPr/>
          </p:nvCxnSpPr>
          <p:spPr>
            <a:xfrm flipV="1">
              <a:off x="496953" y="-460390"/>
              <a:ext cx="0" cy="298579"/>
            </a:xfrm>
            <a:prstGeom prst="line">
              <a:avLst/>
            </a:prstGeom>
            <a:ln w="127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60A68A3A-0635-4F43-BA2C-5851E81FB4E5}"/>
                </a:ext>
              </a:extLst>
            </p:cNvPr>
            <p:cNvGrpSpPr/>
            <p:nvPr/>
          </p:nvGrpSpPr>
          <p:grpSpPr>
            <a:xfrm>
              <a:off x="5015676" y="-460390"/>
              <a:ext cx="250032" cy="298579"/>
              <a:chOff x="4064744" y="4163251"/>
              <a:chExt cx="250032" cy="298579"/>
            </a:xfrm>
          </p:grpSpPr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A1510E22-07F2-431C-9AE0-9C324064EE1B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EEB28B4D-AA6D-43C7-88A2-BCC85F19B05F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0CF7E8B5-622F-4BF0-84FB-6FF1209E1B37}"/>
                </a:ext>
              </a:extLst>
            </p:cNvPr>
            <p:cNvGrpSpPr/>
            <p:nvPr/>
          </p:nvGrpSpPr>
          <p:grpSpPr>
            <a:xfrm>
              <a:off x="8830680" y="-460390"/>
              <a:ext cx="250032" cy="298579"/>
              <a:chOff x="4064744" y="4163251"/>
              <a:chExt cx="250032" cy="298579"/>
            </a:xfrm>
          </p:grpSpPr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2E0374FC-F58E-4D64-A360-B31F7E507689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FEBD2373-920F-4A20-8101-EBE313602255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95344890-0CBB-4202-9B84-6E7E05C9758C}"/>
                </a:ext>
              </a:extLst>
            </p:cNvPr>
            <p:cNvGrpSpPr/>
            <p:nvPr/>
          </p:nvGrpSpPr>
          <p:grpSpPr>
            <a:xfrm>
              <a:off x="2154423" y="-460390"/>
              <a:ext cx="250032" cy="298579"/>
              <a:chOff x="4064744" y="4163251"/>
              <a:chExt cx="250032" cy="298579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7F042FB1-165C-440E-B77F-E292AFA64B0E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50BBFE8B-221F-4C1F-A5A4-2E939142690E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17C07F7F-02BB-48E5-BF4C-B6EE445706A8}"/>
                </a:ext>
              </a:extLst>
            </p:cNvPr>
            <p:cNvGrpSpPr/>
            <p:nvPr/>
          </p:nvGrpSpPr>
          <p:grpSpPr>
            <a:xfrm>
              <a:off x="5969427" y="-460390"/>
              <a:ext cx="250032" cy="298579"/>
              <a:chOff x="4064744" y="4163251"/>
              <a:chExt cx="250032" cy="298579"/>
            </a:xfrm>
          </p:grpSpPr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F88119E8-458B-487E-831B-9D94F51C7B9F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0E5D1344-D8EC-4227-B4BB-677DC19F6240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707EE5FF-2576-4FCB-9182-2554FB3F1F11}"/>
                </a:ext>
              </a:extLst>
            </p:cNvPr>
            <p:cNvGrpSpPr/>
            <p:nvPr/>
          </p:nvGrpSpPr>
          <p:grpSpPr>
            <a:xfrm>
              <a:off x="3108174" y="-460390"/>
              <a:ext cx="250032" cy="298579"/>
              <a:chOff x="4064744" y="4163251"/>
              <a:chExt cx="250032" cy="298579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E3537DD2-AF3A-4C5B-A26B-3A0AE4C0726E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512949BF-3BF1-4F97-887B-0EF07678E5A8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B0FE3B8D-DE34-413B-8685-B3267BF30B0A}"/>
                </a:ext>
              </a:extLst>
            </p:cNvPr>
            <p:cNvGrpSpPr/>
            <p:nvPr/>
          </p:nvGrpSpPr>
          <p:grpSpPr>
            <a:xfrm>
              <a:off x="6923178" y="-460390"/>
              <a:ext cx="250032" cy="298579"/>
              <a:chOff x="4064744" y="4163251"/>
              <a:chExt cx="250032" cy="298579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E0AB49DE-9843-42AE-A181-B8AA532C1F1A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50396B43-ED23-4636-B0EC-6600AC751ECE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96A4C146-789C-46C9-9990-98BA8700B6B2}"/>
                </a:ext>
              </a:extLst>
            </p:cNvPr>
            <p:cNvGrpSpPr/>
            <p:nvPr/>
          </p:nvGrpSpPr>
          <p:grpSpPr>
            <a:xfrm>
              <a:off x="9784431" y="-460390"/>
              <a:ext cx="250032" cy="298579"/>
              <a:chOff x="4064744" y="4163251"/>
              <a:chExt cx="250032" cy="298579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BBC805BC-769A-4780-92F9-387732D73767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8AD4B2AC-1438-4828-BA67-23B1E4959E53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AE3CDB29-21B3-426F-8811-CDFF7BA0BB9D}"/>
                </a:ext>
              </a:extLst>
            </p:cNvPr>
            <p:cNvGrpSpPr/>
            <p:nvPr/>
          </p:nvGrpSpPr>
          <p:grpSpPr>
            <a:xfrm>
              <a:off x="10738182" y="-460390"/>
              <a:ext cx="250032" cy="298579"/>
              <a:chOff x="4064744" y="4163251"/>
              <a:chExt cx="250032" cy="298579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3608AFE2-D125-4BAF-8B88-9FFD54F13482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5185F5C1-E2E4-44B0-AC93-E84867931145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F990C8D8-4DBC-48EB-A8BE-D38B8ADE5756}"/>
                </a:ext>
              </a:extLst>
            </p:cNvPr>
            <p:cNvGrpSpPr/>
            <p:nvPr/>
          </p:nvGrpSpPr>
          <p:grpSpPr>
            <a:xfrm>
              <a:off x="1200672" y="-460390"/>
              <a:ext cx="250032" cy="298579"/>
              <a:chOff x="4064744" y="4163251"/>
              <a:chExt cx="250032" cy="298579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7D95FD34-2539-4FDB-909A-4C1FC7A8A9DA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0F99285D-83CD-4C92-B5B0-2242E55F5A96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0063" y="2520000"/>
            <a:ext cx="11191875" cy="33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err="1"/>
              <a:t>Asurion_Confidentia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4" name="MSIPCMContentMarking" descr="{&quot;HashCode&quot;:-1613636121,&quot;Placement&quot;:&quot;Footer&quot;,&quot;Top&quot;:522.0343,&quot;Left&quot;:424.873322,&quot;SlideWidth&quot;:960,&quot;SlideHeight&quot;:540}">
            <a:extLst>
              <a:ext uri="{FF2B5EF4-FFF2-40B4-BE49-F238E27FC236}">
                <a16:creationId xmlns:a16="http://schemas.microsoft.com/office/drawing/2014/main" id="{02C9B94E-5D21-45E0-AC60-26EB48E298EB}"/>
              </a:ext>
            </a:extLst>
          </p:cNvPr>
          <p:cNvSpPr txBox="1"/>
          <p:nvPr/>
        </p:nvSpPr>
        <p:spPr>
          <a:xfrm>
            <a:off x="5395891" y="6629836"/>
            <a:ext cx="1400218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 err="1">
                <a:solidFill>
                  <a:srgbClr val="737373"/>
                </a:solidFill>
                <a:latin typeface="Calibri" panose="020F0502020204030204" pitchFamily="34" charset="0"/>
                <a:cs typeface="Georgia"/>
              </a:rPr>
              <a:t>Asurion_Internal_Use_Only</a:t>
            </a:r>
            <a:endParaRPr lang="en-US" sz="800">
              <a:solidFill>
                <a:srgbClr val="737373"/>
              </a:solidFill>
              <a:latin typeface="Calibri" panose="020F0502020204030204" pitchFamily="34" charset="0"/>
              <a:cs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571137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  <p:sldLayoutId id="2147483811" r:id="rId12"/>
    <p:sldLayoutId id="2147483812" r:id="rId13"/>
    <p:sldLayoutId id="2147483813" r:id="rId14"/>
    <p:sldLayoutId id="2147483814" r:id="rId15"/>
    <p:sldLayoutId id="2147483815" r:id="rId16"/>
    <p:sldLayoutId id="2147483816" r:id="rId17"/>
    <p:sldLayoutId id="2147483817" r:id="rId18"/>
    <p:sldLayoutId id="2147483818" r:id="rId19"/>
    <p:sldLayoutId id="2147483819" r:id="rId20"/>
    <p:sldLayoutId id="2147483820" r:id="rId21"/>
    <p:sldLayoutId id="2147483821" r:id="rId22"/>
    <p:sldLayoutId id="2147483822" r:id="rId23"/>
    <p:sldLayoutId id="2147483823" r:id="rId24"/>
    <p:sldLayoutId id="2147483824" r:id="rId25"/>
    <p:sldLayoutId id="2147483825" r:id="rId26"/>
    <p:sldLayoutId id="2147483826" r:id="rId27"/>
    <p:sldLayoutId id="2147483827" r:id="rId28"/>
    <p:sldLayoutId id="2147483828" r:id="rId29"/>
    <p:sldLayoutId id="2147483829" r:id="rId30"/>
    <p:sldLayoutId id="2147483830" r:id="rId31"/>
    <p:sldLayoutId id="2147483831" r:id="rId32"/>
    <p:sldLayoutId id="2147483832" r:id="rId33"/>
    <p:sldLayoutId id="2147483833" r:id="rId34"/>
    <p:sldLayoutId id="2147483834" r:id="rId35"/>
    <p:sldLayoutId id="2147483835" r:id="rId36"/>
    <p:sldLayoutId id="2147483836" r:id="rId37"/>
    <p:sldLayoutId id="2147483837" r:id="rId38"/>
    <p:sldLayoutId id="2147483838" r:id="rId39"/>
    <p:sldLayoutId id="2147483839" r:id="rId40"/>
    <p:sldLayoutId id="2147483840" r:id="rId41"/>
    <p:sldLayoutId id="2147483841" r:id="rId42"/>
    <p:sldLayoutId id="2147483842" r:id="rId43"/>
    <p:sldLayoutId id="2147483843" r:id="rId44"/>
    <p:sldLayoutId id="2147483844" r:id="rId45"/>
    <p:sldLayoutId id="2147483845" r:id="rId46"/>
    <p:sldLayoutId id="2147483846" r:id="rId47"/>
    <p:sldLayoutId id="2147483847" r:id="rId48"/>
    <p:sldLayoutId id="2147483848" r:id="rId49"/>
    <p:sldLayoutId id="2147483849" r:id="rId50"/>
    <p:sldLayoutId id="2147483850" r:id="rId51"/>
    <p:sldLayoutId id="2147483851" r:id="rId52"/>
    <p:sldLayoutId id="2147483852" r:id="rId53"/>
    <p:sldLayoutId id="2147483853" r:id="rId54"/>
    <p:sldLayoutId id="2147483854" r:id="rId55"/>
    <p:sldLayoutId id="2147483855" r:id="rId56"/>
    <p:sldLayoutId id="2147483856" r:id="rId57"/>
    <p:sldLayoutId id="2147483857" r:id="rId58"/>
    <p:sldLayoutId id="2147483858" r:id="rId59"/>
    <p:sldLayoutId id="2147483859" r:id="rId60"/>
    <p:sldLayoutId id="2147483860" r:id="rId61"/>
    <p:sldLayoutId id="2147483861" r:id="rId62"/>
    <p:sldLayoutId id="2147483862" r:id="rId63"/>
    <p:sldLayoutId id="2147483863" r:id="rId64"/>
    <p:sldLayoutId id="2147483864" r:id="rId65"/>
    <p:sldLayoutId id="2147483865" r:id="rId66"/>
    <p:sldLayoutId id="2147483866" r:id="rId67"/>
    <p:sldLayoutId id="2147483867" r:id="rId68"/>
    <p:sldLayoutId id="2147483868" r:id="rId69"/>
    <p:sldLayoutId id="2147483869" r:id="rId70"/>
    <p:sldLayoutId id="2147483870" r:id="rId71"/>
    <p:sldLayoutId id="2147483871" r:id="rId7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Calibri Light" panose="020F0302020204030204" pitchFamily="34" charset="0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None/>
        <a:defRPr sz="1400" b="1" kern="120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None/>
        <a:defRPr sz="1400" kern="1200" spc="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 spc="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200" kern="1200" spc="0">
          <a:solidFill>
            <a:schemeClr val="tx1"/>
          </a:solidFill>
          <a:latin typeface="+mn-lt"/>
          <a:ea typeface="+mn-ea"/>
          <a:cs typeface="+mn-cs"/>
        </a:defRPr>
      </a:lvl4pPr>
      <a:lvl5pPr marL="542925" indent="-180975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100" kern="1200" spc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61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315">
          <p15:clr>
            <a:srgbClr val="F26B43"/>
          </p15:clr>
        </p15:guide>
        <p15:guide id="4" pos="7365">
          <p15:clr>
            <a:srgbClr val="F26B43"/>
          </p15:clr>
        </p15:guide>
        <p15:guide id="5" pos="756">
          <p15:clr>
            <a:srgbClr val="F26B43"/>
          </p15:clr>
        </p15:guide>
        <p15:guide id="6" pos="914">
          <p15:clr>
            <a:srgbClr val="F26B43"/>
          </p15:clr>
        </p15:guide>
        <p15:guide id="7" pos="1358">
          <p15:clr>
            <a:srgbClr val="F26B43"/>
          </p15:clr>
        </p15:guide>
        <p15:guide id="8" pos="1515">
          <p15:clr>
            <a:srgbClr val="F26B43"/>
          </p15:clr>
        </p15:guide>
        <p15:guide id="9" pos="1958">
          <p15:clr>
            <a:srgbClr val="F26B43"/>
          </p15:clr>
        </p15:guide>
        <p15:guide id="10" pos="2115">
          <p15:clr>
            <a:srgbClr val="F26B43"/>
          </p15:clr>
        </p15:guide>
        <p15:guide id="11" pos="2559">
          <p15:clr>
            <a:srgbClr val="F26B43"/>
          </p15:clr>
        </p15:guide>
        <p15:guide id="12" pos="2717">
          <p15:clr>
            <a:srgbClr val="F26B43"/>
          </p15:clr>
        </p15:guide>
        <p15:guide id="13" pos="3159">
          <p15:clr>
            <a:srgbClr val="F26B43"/>
          </p15:clr>
        </p15:guide>
        <p15:guide id="14" pos="3317">
          <p15:clr>
            <a:srgbClr val="F26B43"/>
          </p15:clr>
        </p15:guide>
        <p15:guide id="15" pos="4361">
          <p15:clr>
            <a:srgbClr val="F26B43"/>
          </p15:clr>
        </p15:guide>
        <p15:guide id="16" pos="4518">
          <p15:clr>
            <a:srgbClr val="F26B43"/>
          </p15:clr>
        </p15:guide>
        <p15:guide id="17" pos="4962">
          <p15:clr>
            <a:srgbClr val="F26B43"/>
          </p15:clr>
        </p15:guide>
        <p15:guide id="18" pos="5120">
          <p15:clr>
            <a:srgbClr val="F26B43"/>
          </p15:clr>
        </p15:guide>
        <p15:guide id="19" pos="5562">
          <p15:clr>
            <a:srgbClr val="F26B43"/>
          </p15:clr>
        </p15:guide>
        <p15:guide id="20" pos="5720">
          <p15:clr>
            <a:srgbClr val="F26B43"/>
          </p15:clr>
        </p15:guide>
        <p15:guide id="21" pos="6164">
          <p15:clr>
            <a:srgbClr val="F26B43"/>
          </p15:clr>
        </p15:guide>
        <p15:guide id="22" pos="6321">
          <p15:clr>
            <a:srgbClr val="F26B43"/>
          </p15:clr>
        </p15:guide>
        <p15:guide id="23" pos="6764">
          <p15:clr>
            <a:srgbClr val="F26B43"/>
          </p15:clr>
        </p15:guide>
        <p15:guide id="24" pos="6921">
          <p15:clr>
            <a:srgbClr val="F26B43"/>
          </p15:clr>
        </p15:guide>
        <p15:guide id="25" orient="horz" pos="323">
          <p15:clr>
            <a:srgbClr val="F26B43"/>
          </p15:clr>
        </p15:guide>
        <p15:guide id="26" orient="horz" pos="4085">
          <p15:clr>
            <a:srgbClr val="F26B43"/>
          </p15:clr>
        </p15:guide>
        <p15:guide id="27" pos="3918">
          <p15:clr>
            <a:srgbClr val="F26B43"/>
          </p15:clr>
        </p15:guide>
        <p15:guide id="28" orient="horz" pos="795">
          <p15:clr>
            <a:srgbClr val="F26B43"/>
          </p15:clr>
        </p15:guide>
        <p15:guide id="30" orient="horz" pos="507">
          <p15:clr>
            <a:srgbClr val="F26B43"/>
          </p15:clr>
        </p15:guide>
        <p15:guide id="31" orient="horz" pos="3711">
          <p15:clr>
            <a:srgbClr val="F26B43"/>
          </p15:clr>
        </p15:guide>
        <p15:guide id="36" orient="horz" pos="1586">
          <p15:clr>
            <a:srgbClr val="F26B43"/>
          </p15:clr>
        </p15:guide>
        <p15:guide id="37" orient="horz" pos="959">
          <p15:clr>
            <a:srgbClr val="F26B43"/>
          </p15:clr>
        </p15:guide>
        <p15:guide id="38" orient="horz" pos="107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id" hidden="1">
            <a:extLst>
              <a:ext uri="{FF2B5EF4-FFF2-40B4-BE49-F238E27FC236}">
                <a16:creationId xmlns:a16="http://schemas.microsoft.com/office/drawing/2014/main" id="{CB62F4A8-D16F-4ED4-8FB1-033DD30013A9}"/>
              </a:ext>
            </a:extLst>
          </p:cNvPr>
          <p:cNvGrpSpPr/>
          <p:nvPr/>
        </p:nvGrpSpPr>
        <p:grpSpPr>
          <a:xfrm>
            <a:off x="496953" y="-460390"/>
            <a:ext cx="11194985" cy="298579"/>
            <a:chOff x="496953" y="-460390"/>
            <a:chExt cx="11194985" cy="298579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71894BAE-7B52-43F3-AD46-8957D93FF5AB}"/>
                </a:ext>
              </a:extLst>
            </p:cNvPr>
            <p:cNvGrpSpPr/>
            <p:nvPr/>
          </p:nvGrpSpPr>
          <p:grpSpPr>
            <a:xfrm>
              <a:off x="4061925" y="-460390"/>
              <a:ext cx="250032" cy="298579"/>
              <a:chOff x="4064744" y="4163251"/>
              <a:chExt cx="250032" cy="298579"/>
            </a:xfrm>
          </p:grpSpPr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D69FFFF0-32A9-46BC-A379-334A55789281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F5309365-DA95-40B6-BE77-1DE527E38447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9B2BADEC-78DB-464B-937A-8F5A0553FC53}"/>
                </a:ext>
              </a:extLst>
            </p:cNvPr>
            <p:cNvGrpSpPr/>
            <p:nvPr/>
          </p:nvGrpSpPr>
          <p:grpSpPr>
            <a:xfrm>
              <a:off x="7876929" y="-460390"/>
              <a:ext cx="250032" cy="298579"/>
              <a:chOff x="4064744" y="4163251"/>
              <a:chExt cx="250032" cy="298579"/>
            </a:xfrm>
          </p:grpSpPr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3359999C-DB9A-40C8-A213-DE83FF39D2FF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0BC82D5E-5908-416C-A039-B3C5E9E76A20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9BD3A864-9244-44A2-BC6D-E12531C98F2B}"/>
                </a:ext>
              </a:extLst>
            </p:cNvPr>
            <p:cNvCxnSpPr/>
            <p:nvPr/>
          </p:nvCxnSpPr>
          <p:spPr>
            <a:xfrm flipV="1">
              <a:off x="11691938" y="-460390"/>
              <a:ext cx="0" cy="298579"/>
            </a:xfrm>
            <a:prstGeom prst="line">
              <a:avLst/>
            </a:prstGeom>
            <a:ln w="127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21B0B773-2456-421E-88AD-5BDE6AE70DD6}"/>
                </a:ext>
              </a:extLst>
            </p:cNvPr>
            <p:cNvCxnSpPr/>
            <p:nvPr/>
          </p:nvCxnSpPr>
          <p:spPr>
            <a:xfrm flipV="1">
              <a:off x="496953" y="-460390"/>
              <a:ext cx="0" cy="298579"/>
            </a:xfrm>
            <a:prstGeom prst="line">
              <a:avLst/>
            </a:prstGeom>
            <a:ln w="127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60A68A3A-0635-4F43-BA2C-5851E81FB4E5}"/>
                </a:ext>
              </a:extLst>
            </p:cNvPr>
            <p:cNvGrpSpPr/>
            <p:nvPr/>
          </p:nvGrpSpPr>
          <p:grpSpPr>
            <a:xfrm>
              <a:off x="5015676" y="-460390"/>
              <a:ext cx="250032" cy="298579"/>
              <a:chOff x="4064744" y="4163251"/>
              <a:chExt cx="250032" cy="298579"/>
            </a:xfrm>
          </p:grpSpPr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A1510E22-07F2-431C-9AE0-9C324064EE1B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EEB28B4D-AA6D-43C7-88A2-BCC85F19B05F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0CF7E8B5-622F-4BF0-84FB-6FF1209E1B37}"/>
                </a:ext>
              </a:extLst>
            </p:cNvPr>
            <p:cNvGrpSpPr/>
            <p:nvPr/>
          </p:nvGrpSpPr>
          <p:grpSpPr>
            <a:xfrm>
              <a:off x="8830680" y="-460390"/>
              <a:ext cx="250032" cy="298579"/>
              <a:chOff x="4064744" y="4163251"/>
              <a:chExt cx="250032" cy="298579"/>
            </a:xfrm>
          </p:grpSpPr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2E0374FC-F58E-4D64-A360-B31F7E507689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FEBD2373-920F-4A20-8101-EBE313602255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95344890-0CBB-4202-9B84-6E7E05C9758C}"/>
                </a:ext>
              </a:extLst>
            </p:cNvPr>
            <p:cNvGrpSpPr/>
            <p:nvPr/>
          </p:nvGrpSpPr>
          <p:grpSpPr>
            <a:xfrm>
              <a:off x="2154423" y="-460390"/>
              <a:ext cx="250032" cy="298579"/>
              <a:chOff x="4064744" y="4163251"/>
              <a:chExt cx="250032" cy="298579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7F042FB1-165C-440E-B77F-E292AFA64B0E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50BBFE8B-221F-4C1F-A5A4-2E939142690E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17C07F7F-02BB-48E5-BF4C-B6EE445706A8}"/>
                </a:ext>
              </a:extLst>
            </p:cNvPr>
            <p:cNvGrpSpPr/>
            <p:nvPr/>
          </p:nvGrpSpPr>
          <p:grpSpPr>
            <a:xfrm>
              <a:off x="5969427" y="-460390"/>
              <a:ext cx="250032" cy="298579"/>
              <a:chOff x="4064744" y="4163251"/>
              <a:chExt cx="250032" cy="298579"/>
            </a:xfrm>
          </p:grpSpPr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F88119E8-458B-487E-831B-9D94F51C7B9F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0E5D1344-D8EC-4227-B4BB-677DC19F6240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707EE5FF-2576-4FCB-9182-2554FB3F1F11}"/>
                </a:ext>
              </a:extLst>
            </p:cNvPr>
            <p:cNvGrpSpPr/>
            <p:nvPr/>
          </p:nvGrpSpPr>
          <p:grpSpPr>
            <a:xfrm>
              <a:off x="3108174" y="-460390"/>
              <a:ext cx="250032" cy="298579"/>
              <a:chOff x="4064744" y="4163251"/>
              <a:chExt cx="250032" cy="298579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E3537DD2-AF3A-4C5B-A26B-3A0AE4C0726E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512949BF-3BF1-4F97-887B-0EF07678E5A8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B0FE3B8D-DE34-413B-8685-B3267BF30B0A}"/>
                </a:ext>
              </a:extLst>
            </p:cNvPr>
            <p:cNvGrpSpPr/>
            <p:nvPr/>
          </p:nvGrpSpPr>
          <p:grpSpPr>
            <a:xfrm>
              <a:off x="6923178" y="-460390"/>
              <a:ext cx="250032" cy="298579"/>
              <a:chOff x="4064744" y="4163251"/>
              <a:chExt cx="250032" cy="298579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E0AB49DE-9843-42AE-A181-B8AA532C1F1A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50396B43-ED23-4636-B0EC-6600AC751ECE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96A4C146-789C-46C9-9990-98BA8700B6B2}"/>
                </a:ext>
              </a:extLst>
            </p:cNvPr>
            <p:cNvGrpSpPr/>
            <p:nvPr/>
          </p:nvGrpSpPr>
          <p:grpSpPr>
            <a:xfrm>
              <a:off x="9784431" y="-460390"/>
              <a:ext cx="250032" cy="298579"/>
              <a:chOff x="4064744" y="4163251"/>
              <a:chExt cx="250032" cy="298579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BBC805BC-769A-4780-92F9-387732D73767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8AD4B2AC-1438-4828-BA67-23B1E4959E53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AE3CDB29-21B3-426F-8811-CDFF7BA0BB9D}"/>
                </a:ext>
              </a:extLst>
            </p:cNvPr>
            <p:cNvGrpSpPr/>
            <p:nvPr/>
          </p:nvGrpSpPr>
          <p:grpSpPr>
            <a:xfrm>
              <a:off x="10738182" y="-460390"/>
              <a:ext cx="250032" cy="298579"/>
              <a:chOff x="4064744" y="4163251"/>
              <a:chExt cx="250032" cy="298579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3608AFE2-D125-4BAF-8B88-9FFD54F13482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5185F5C1-E2E4-44B0-AC93-E84867931145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F990C8D8-4DBC-48EB-A8BE-D38B8ADE5756}"/>
                </a:ext>
              </a:extLst>
            </p:cNvPr>
            <p:cNvGrpSpPr/>
            <p:nvPr/>
          </p:nvGrpSpPr>
          <p:grpSpPr>
            <a:xfrm>
              <a:off x="1200672" y="-460390"/>
              <a:ext cx="250032" cy="298579"/>
              <a:chOff x="4064744" y="4163251"/>
              <a:chExt cx="250032" cy="298579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7D95FD34-2539-4FDB-909A-4C1FC7A8A9DA}"/>
                  </a:ext>
                </a:extLst>
              </p:cNvPr>
              <p:cNvCxnSpPr/>
              <p:nvPr/>
            </p:nvCxnSpPr>
            <p:spPr>
              <a:xfrm flipV="1">
                <a:off x="4064744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0F99285D-83CD-4C92-B5B0-2242E55F5A96}"/>
                  </a:ext>
                </a:extLst>
              </p:cNvPr>
              <p:cNvCxnSpPr/>
              <p:nvPr/>
            </p:nvCxnSpPr>
            <p:spPr>
              <a:xfrm flipV="1">
                <a:off x="4314776" y="4163251"/>
                <a:ext cx="0" cy="298579"/>
              </a:xfrm>
              <a:prstGeom prst="line">
                <a:avLst/>
              </a:prstGeom>
              <a:ln w="127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0063" y="2520000"/>
            <a:ext cx="11191875" cy="33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t>Asurion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fld id="{9C3ACAB3-CA36-4966-8A1D-076772D39D8D}" type="slidenum">
              <a:rPr/>
              <a:pPr/>
              <a:t>‹#›</a:t>
            </a:fld>
            <a:endParaRPr/>
          </a:p>
        </p:txBody>
      </p:sp>
      <p:sp>
        <p:nvSpPr>
          <p:cNvPr id="7" name="MSIPCMContentMarking" descr="{&quot;HashCode&quot;:1204982525,&quot;Placement&quot;:&quot;Footer&quot;,&quot;Top&quot;:522.0343,&quot;Left&quot;:424.873322,&quot;SlideWidth&quot;:960,&quot;SlideHeight&quot;:540}">
            <a:extLst>
              <a:ext uri="{FF2B5EF4-FFF2-40B4-BE49-F238E27FC236}">
                <a16:creationId xmlns:a16="http://schemas.microsoft.com/office/drawing/2014/main" id="{10D18C15-E742-49F5-89BF-EB58B7A1C273}"/>
              </a:ext>
            </a:extLst>
          </p:cNvPr>
          <p:cNvSpPr txBox="1"/>
          <p:nvPr/>
        </p:nvSpPr>
        <p:spPr>
          <a:xfrm>
            <a:off x="5395891" y="6629836"/>
            <a:ext cx="1400218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737373"/>
                </a:solidFill>
                <a:latin typeface="Calibri" panose="020F0502020204030204" pitchFamily="34" charset="0"/>
                <a:cs typeface="Georgia"/>
              </a:rPr>
              <a:t>Asurion_Internal_Use_Only</a:t>
            </a:r>
          </a:p>
        </p:txBody>
      </p:sp>
    </p:spTree>
    <p:extLst>
      <p:ext uri="{BB962C8B-B14F-4D97-AF65-F5344CB8AC3E}">
        <p14:creationId xmlns:p14="http://schemas.microsoft.com/office/powerpoint/2010/main" val="2187655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  <p:sldLayoutId id="2147483884" r:id="rId12"/>
    <p:sldLayoutId id="2147483885" r:id="rId13"/>
    <p:sldLayoutId id="2147483886" r:id="rId14"/>
    <p:sldLayoutId id="2147483887" r:id="rId15"/>
    <p:sldLayoutId id="2147483888" r:id="rId16"/>
    <p:sldLayoutId id="2147483889" r:id="rId17"/>
    <p:sldLayoutId id="2147483890" r:id="rId18"/>
    <p:sldLayoutId id="2147483891" r:id="rId19"/>
    <p:sldLayoutId id="2147483892" r:id="rId20"/>
    <p:sldLayoutId id="2147483893" r:id="rId21"/>
    <p:sldLayoutId id="2147483894" r:id="rId22"/>
    <p:sldLayoutId id="2147483895" r:id="rId23"/>
    <p:sldLayoutId id="2147483896" r:id="rId24"/>
    <p:sldLayoutId id="2147483897" r:id="rId25"/>
    <p:sldLayoutId id="2147483898" r:id="rId26"/>
    <p:sldLayoutId id="2147483899" r:id="rId27"/>
    <p:sldLayoutId id="2147483900" r:id="rId28"/>
    <p:sldLayoutId id="2147483901" r:id="rId29"/>
    <p:sldLayoutId id="2147483902" r:id="rId30"/>
    <p:sldLayoutId id="2147483903" r:id="rId31"/>
    <p:sldLayoutId id="2147483904" r:id="rId32"/>
    <p:sldLayoutId id="2147483905" r:id="rId33"/>
    <p:sldLayoutId id="2147483906" r:id="rId34"/>
    <p:sldLayoutId id="2147483907" r:id="rId35"/>
    <p:sldLayoutId id="2147483908" r:id="rId36"/>
    <p:sldLayoutId id="2147483909" r:id="rId37"/>
    <p:sldLayoutId id="2147483910" r:id="rId38"/>
    <p:sldLayoutId id="2147483911" r:id="rId39"/>
    <p:sldLayoutId id="2147483912" r:id="rId40"/>
    <p:sldLayoutId id="2147483913" r:id="rId41"/>
    <p:sldLayoutId id="2147483914" r:id="rId42"/>
    <p:sldLayoutId id="2147483915" r:id="rId43"/>
    <p:sldLayoutId id="2147483916" r:id="rId44"/>
    <p:sldLayoutId id="2147483917" r:id="rId45"/>
    <p:sldLayoutId id="2147483918" r:id="rId46"/>
    <p:sldLayoutId id="2147483919" r:id="rId47"/>
    <p:sldLayoutId id="2147483920" r:id="rId48"/>
    <p:sldLayoutId id="2147483921" r:id="rId49"/>
    <p:sldLayoutId id="2147483922" r:id="rId50"/>
    <p:sldLayoutId id="2147483923" r:id="rId51"/>
    <p:sldLayoutId id="2147483924" r:id="rId52"/>
    <p:sldLayoutId id="2147483925" r:id="rId53"/>
    <p:sldLayoutId id="2147483926" r:id="rId54"/>
    <p:sldLayoutId id="2147483927" r:id="rId55"/>
    <p:sldLayoutId id="2147483928" r:id="rId56"/>
    <p:sldLayoutId id="2147483929" r:id="rId57"/>
    <p:sldLayoutId id="2147483930" r:id="rId58"/>
    <p:sldLayoutId id="2147483931" r:id="rId59"/>
    <p:sldLayoutId id="2147483932" r:id="rId60"/>
    <p:sldLayoutId id="2147483933" r:id="rId61"/>
    <p:sldLayoutId id="2147483934" r:id="rId62"/>
    <p:sldLayoutId id="2147483935" r:id="rId63"/>
    <p:sldLayoutId id="2147483936" r:id="rId64"/>
    <p:sldLayoutId id="2147483937" r:id="rId65"/>
    <p:sldLayoutId id="2147483938" r:id="rId66"/>
    <p:sldLayoutId id="2147483939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Calibri Light" panose="020F0302020204030204" pitchFamily="34" charset="0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None/>
        <a:defRPr sz="1400" b="1" kern="120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None/>
        <a:defRPr sz="1400" kern="1200" spc="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 spc="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200" kern="1200" spc="0">
          <a:solidFill>
            <a:schemeClr val="tx1"/>
          </a:solidFill>
          <a:latin typeface="+mn-lt"/>
          <a:ea typeface="+mn-ea"/>
          <a:cs typeface="+mn-cs"/>
        </a:defRPr>
      </a:lvl4pPr>
      <a:lvl5pPr marL="542925" indent="-180975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100" kern="1200" spc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61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315">
          <p15:clr>
            <a:srgbClr val="F26B43"/>
          </p15:clr>
        </p15:guide>
        <p15:guide id="4" pos="7365">
          <p15:clr>
            <a:srgbClr val="F26B43"/>
          </p15:clr>
        </p15:guide>
        <p15:guide id="5" pos="756">
          <p15:clr>
            <a:srgbClr val="F26B43"/>
          </p15:clr>
        </p15:guide>
        <p15:guide id="6" pos="914">
          <p15:clr>
            <a:srgbClr val="F26B43"/>
          </p15:clr>
        </p15:guide>
        <p15:guide id="7" pos="1358">
          <p15:clr>
            <a:srgbClr val="F26B43"/>
          </p15:clr>
        </p15:guide>
        <p15:guide id="8" pos="1515">
          <p15:clr>
            <a:srgbClr val="F26B43"/>
          </p15:clr>
        </p15:guide>
        <p15:guide id="9" pos="1958">
          <p15:clr>
            <a:srgbClr val="F26B43"/>
          </p15:clr>
        </p15:guide>
        <p15:guide id="10" pos="2115">
          <p15:clr>
            <a:srgbClr val="F26B43"/>
          </p15:clr>
        </p15:guide>
        <p15:guide id="11" pos="2559">
          <p15:clr>
            <a:srgbClr val="F26B43"/>
          </p15:clr>
        </p15:guide>
        <p15:guide id="12" pos="2717">
          <p15:clr>
            <a:srgbClr val="F26B43"/>
          </p15:clr>
        </p15:guide>
        <p15:guide id="13" pos="3159">
          <p15:clr>
            <a:srgbClr val="F26B43"/>
          </p15:clr>
        </p15:guide>
        <p15:guide id="14" pos="3317">
          <p15:clr>
            <a:srgbClr val="F26B43"/>
          </p15:clr>
        </p15:guide>
        <p15:guide id="15" pos="4361">
          <p15:clr>
            <a:srgbClr val="F26B43"/>
          </p15:clr>
        </p15:guide>
        <p15:guide id="16" pos="4518">
          <p15:clr>
            <a:srgbClr val="F26B43"/>
          </p15:clr>
        </p15:guide>
        <p15:guide id="17" pos="4962">
          <p15:clr>
            <a:srgbClr val="F26B43"/>
          </p15:clr>
        </p15:guide>
        <p15:guide id="18" pos="5120">
          <p15:clr>
            <a:srgbClr val="F26B43"/>
          </p15:clr>
        </p15:guide>
        <p15:guide id="19" pos="5562">
          <p15:clr>
            <a:srgbClr val="F26B43"/>
          </p15:clr>
        </p15:guide>
        <p15:guide id="20" pos="5720">
          <p15:clr>
            <a:srgbClr val="F26B43"/>
          </p15:clr>
        </p15:guide>
        <p15:guide id="21" pos="6164">
          <p15:clr>
            <a:srgbClr val="F26B43"/>
          </p15:clr>
        </p15:guide>
        <p15:guide id="22" pos="6321">
          <p15:clr>
            <a:srgbClr val="F26B43"/>
          </p15:clr>
        </p15:guide>
        <p15:guide id="23" pos="6764">
          <p15:clr>
            <a:srgbClr val="F26B43"/>
          </p15:clr>
        </p15:guide>
        <p15:guide id="24" pos="6921">
          <p15:clr>
            <a:srgbClr val="F26B43"/>
          </p15:clr>
        </p15:guide>
        <p15:guide id="25" orient="horz" pos="323">
          <p15:clr>
            <a:srgbClr val="F26B43"/>
          </p15:clr>
        </p15:guide>
        <p15:guide id="26" orient="horz" pos="4085">
          <p15:clr>
            <a:srgbClr val="F26B43"/>
          </p15:clr>
        </p15:guide>
        <p15:guide id="27" pos="3918">
          <p15:clr>
            <a:srgbClr val="F26B43"/>
          </p15:clr>
        </p15:guide>
        <p15:guide id="28" orient="horz" pos="795">
          <p15:clr>
            <a:srgbClr val="F26B43"/>
          </p15:clr>
        </p15:guide>
        <p15:guide id="30" orient="horz" pos="507">
          <p15:clr>
            <a:srgbClr val="F26B43"/>
          </p15:clr>
        </p15:guide>
        <p15:guide id="31" orient="horz" pos="3711">
          <p15:clr>
            <a:srgbClr val="F26B43"/>
          </p15:clr>
        </p15:guide>
        <p15:guide id="36" orient="horz" pos="1586">
          <p15:clr>
            <a:srgbClr val="F26B43"/>
          </p15:clr>
        </p15:guide>
        <p15:guide id="37" orient="horz" pos="959">
          <p15:clr>
            <a:srgbClr val="F26B43"/>
          </p15:clr>
        </p15:guide>
        <p15:guide id="38" orient="horz" pos="107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5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5"/>
          <p:cNvSpPr txBox="1">
            <a:spLocks noGrp="1"/>
          </p:cNvSpPr>
          <p:nvPr>
            <p:ph type="body" idx="1"/>
          </p:nvPr>
        </p:nvSpPr>
        <p:spPr>
          <a:xfrm>
            <a:off x="500063" y="2520000"/>
            <a:ext cx="11191875" cy="33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5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5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4" name="Google Shape;14;p5"/>
          <p:cNvGrpSpPr/>
          <p:nvPr/>
        </p:nvGrpSpPr>
        <p:grpSpPr>
          <a:xfrm>
            <a:off x="504031" y="6390186"/>
            <a:ext cx="918000" cy="213052"/>
            <a:chOff x="316" y="3952"/>
            <a:chExt cx="586" cy="136"/>
          </a:xfrm>
        </p:grpSpPr>
        <p:sp>
          <p:nvSpPr>
            <p:cNvPr id="15" name="Google Shape;15;p5"/>
            <p:cNvSpPr/>
            <p:nvPr/>
          </p:nvSpPr>
          <p:spPr>
            <a:xfrm>
              <a:off x="428" y="3990"/>
              <a:ext cx="66" cy="98"/>
            </a:xfrm>
            <a:custGeom>
              <a:avLst/>
              <a:gdLst/>
              <a:ahLst/>
              <a:cxnLst/>
              <a:rect l="l" t="t" r="r" b="b"/>
              <a:pathLst>
                <a:path w="2176" h="3230" extrusionOk="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16;p5"/>
            <p:cNvSpPr/>
            <p:nvPr/>
          </p:nvSpPr>
          <p:spPr>
            <a:xfrm>
              <a:off x="505" y="3991"/>
              <a:ext cx="85" cy="97"/>
            </a:xfrm>
            <a:custGeom>
              <a:avLst/>
              <a:gdLst/>
              <a:ahLst/>
              <a:cxnLst/>
              <a:rect l="l" t="t" r="r" b="b"/>
              <a:pathLst>
                <a:path w="2769" h="3192" extrusionOk="0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17;p5"/>
            <p:cNvSpPr/>
            <p:nvPr/>
          </p:nvSpPr>
          <p:spPr>
            <a:xfrm>
              <a:off x="608" y="3990"/>
              <a:ext cx="46" cy="97"/>
            </a:xfrm>
            <a:custGeom>
              <a:avLst/>
              <a:gdLst/>
              <a:ahLst/>
              <a:cxnLst/>
              <a:rect l="l" t="t" r="r" b="b"/>
              <a:pathLst>
                <a:path w="1508" h="3192" extrusionOk="0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18;p5"/>
            <p:cNvSpPr/>
            <p:nvPr/>
          </p:nvSpPr>
          <p:spPr>
            <a:xfrm>
              <a:off x="664" y="3952"/>
              <a:ext cx="28" cy="135"/>
            </a:xfrm>
            <a:custGeom>
              <a:avLst/>
              <a:gdLst/>
              <a:ahLst/>
              <a:cxnLst/>
              <a:rect l="l" t="t" r="r" b="b"/>
              <a:pathLst>
                <a:path w="934" h="4454" extrusionOk="0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19;p5"/>
            <p:cNvSpPr/>
            <p:nvPr/>
          </p:nvSpPr>
          <p:spPr>
            <a:xfrm>
              <a:off x="702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1" h="3230" extrusionOk="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20;p5"/>
            <p:cNvSpPr/>
            <p:nvPr/>
          </p:nvSpPr>
          <p:spPr>
            <a:xfrm>
              <a:off x="814" y="3990"/>
              <a:ext cx="88" cy="97"/>
            </a:xfrm>
            <a:custGeom>
              <a:avLst/>
              <a:gdLst/>
              <a:ahLst/>
              <a:cxnLst/>
              <a:rect l="l" t="t" r="r" b="b"/>
              <a:pathLst>
                <a:path w="2893" h="3211" extrusionOk="0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21;p5"/>
            <p:cNvSpPr/>
            <p:nvPr/>
          </p:nvSpPr>
          <p:spPr>
            <a:xfrm>
              <a:off x="316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0" h="3230" extrusionOk="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" name="MSIPCMContentMarking" descr="{&quot;HashCode&quot;:1204982525,&quot;Placement&quot;:&quot;Footer&quot;,&quot;Top&quot;:522.0343,&quot;Left&quot;:424.873322,&quot;SlideWidth&quot;:960,&quot;SlideHeight&quot;:540}">
            <a:extLst>
              <a:ext uri="{FF2B5EF4-FFF2-40B4-BE49-F238E27FC236}">
                <a16:creationId xmlns:a16="http://schemas.microsoft.com/office/drawing/2014/main" id="{3A9BCB7B-9F9C-4EFD-BEDA-B87D5271B9A1}"/>
              </a:ext>
            </a:extLst>
          </p:cNvPr>
          <p:cNvSpPr txBox="1"/>
          <p:nvPr/>
        </p:nvSpPr>
        <p:spPr>
          <a:xfrm>
            <a:off x="5395891" y="6629836"/>
            <a:ext cx="1400218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737373"/>
                </a:solidFill>
                <a:latin typeface="Calibri" panose="020F0502020204030204" pitchFamily="34" charset="0"/>
              </a:rPr>
              <a:t>Asurion_Internal_Use_Only</a:t>
            </a:r>
          </a:p>
        </p:txBody>
      </p:sp>
    </p:spTree>
    <p:extLst>
      <p:ext uri="{BB962C8B-B14F-4D97-AF65-F5344CB8AC3E}">
        <p14:creationId xmlns:p14="http://schemas.microsoft.com/office/powerpoint/2010/main" val="315629129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3" r:id="rId3"/>
    <p:sldLayoutId id="2147483944" r:id="rId4"/>
    <p:sldLayoutId id="2147483945" r:id="rId5"/>
    <p:sldLayoutId id="2147483946" r:id="rId6"/>
    <p:sldLayoutId id="2147483947" r:id="rId7"/>
    <p:sldLayoutId id="2147483948" r:id="rId8"/>
    <p:sldLayoutId id="2147483949" r:id="rId9"/>
    <p:sldLayoutId id="2147483950" r:id="rId10"/>
    <p:sldLayoutId id="2147483951" r:id="rId11"/>
    <p:sldLayoutId id="2147483952" r:id="rId12"/>
    <p:sldLayoutId id="2147483953" r:id="rId13"/>
    <p:sldLayoutId id="2147483954" r:id="rId14"/>
    <p:sldLayoutId id="2147483955" r:id="rId15"/>
    <p:sldLayoutId id="2147483956" r:id="rId16"/>
    <p:sldLayoutId id="2147483957" r:id="rId17"/>
    <p:sldLayoutId id="2147483958" r:id="rId18"/>
    <p:sldLayoutId id="2147483959" r:id="rId19"/>
    <p:sldLayoutId id="2147483960" r:id="rId20"/>
    <p:sldLayoutId id="2147483961" r:id="rId21"/>
    <p:sldLayoutId id="2147483962" r:id="rId22"/>
    <p:sldLayoutId id="2147483963" r:id="rId23"/>
    <p:sldLayoutId id="2147483964" r:id="rId24"/>
    <p:sldLayoutId id="2147483965" r:id="rId25"/>
    <p:sldLayoutId id="2147483966" r:id="rId26"/>
    <p:sldLayoutId id="2147483967" r:id="rId27"/>
    <p:sldLayoutId id="2147483968" r:id="rId28"/>
    <p:sldLayoutId id="2147483969" r:id="rId29"/>
    <p:sldLayoutId id="2147483970" r:id="rId30"/>
    <p:sldLayoutId id="2147483971" r:id="rId31"/>
    <p:sldLayoutId id="2147483972" r:id="rId32"/>
    <p:sldLayoutId id="2147483973" r:id="rId33"/>
    <p:sldLayoutId id="2147483974" r:id="rId34"/>
    <p:sldLayoutId id="2147483975" r:id="rId35"/>
    <p:sldLayoutId id="2147483976" r:id="rId36"/>
    <p:sldLayoutId id="2147483977" r:id="rId37"/>
    <p:sldLayoutId id="2147483978" r:id="rId38"/>
    <p:sldLayoutId id="2147483979" r:id="rId39"/>
    <p:sldLayoutId id="2147483980" r:id="rId40"/>
    <p:sldLayoutId id="2147483981" r:id="rId41"/>
    <p:sldLayoutId id="2147483982" r:id="rId42"/>
    <p:sldLayoutId id="2147483983" r:id="rId43"/>
    <p:sldLayoutId id="2147483984" r:id="rId44"/>
    <p:sldLayoutId id="2147483985" r:id="rId45"/>
    <p:sldLayoutId id="2147483986" r:id="rId46"/>
    <p:sldLayoutId id="2147483987" r:id="rId47"/>
    <p:sldLayoutId id="2147483988" r:id="rId48"/>
    <p:sldLayoutId id="2147483989" r:id="rId49"/>
    <p:sldLayoutId id="2147483990" r:id="rId50"/>
    <p:sldLayoutId id="2147483991" r:id="rId51"/>
    <p:sldLayoutId id="2147483992" r:id="rId52"/>
    <p:sldLayoutId id="2147483993" r:id="rId53"/>
    <p:sldLayoutId id="2147483994" r:id="rId54"/>
    <p:sldLayoutId id="2147483995" r:id="rId5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3761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315">
          <p15:clr>
            <a:srgbClr val="F26B43"/>
          </p15:clr>
        </p15:guide>
        <p15:guide id="4" pos="7365">
          <p15:clr>
            <a:srgbClr val="F26B43"/>
          </p15:clr>
        </p15:guide>
        <p15:guide id="5" pos="756">
          <p15:clr>
            <a:srgbClr val="F26B43"/>
          </p15:clr>
        </p15:guide>
        <p15:guide id="6" pos="914">
          <p15:clr>
            <a:srgbClr val="F26B43"/>
          </p15:clr>
        </p15:guide>
        <p15:guide id="7" pos="1358">
          <p15:clr>
            <a:srgbClr val="F26B43"/>
          </p15:clr>
        </p15:guide>
        <p15:guide id="8" pos="1515">
          <p15:clr>
            <a:srgbClr val="F26B43"/>
          </p15:clr>
        </p15:guide>
        <p15:guide id="9" pos="1958">
          <p15:clr>
            <a:srgbClr val="F26B43"/>
          </p15:clr>
        </p15:guide>
        <p15:guide id="10" pos="2115">
          <p15:clr>
            <a:srgbClr val="F26B43"/>
          </p15:clr>
        </p15:guide>
        <p15:guide id="11" pos="2559">
          <p15:clr>
            <a:srgbClr val="F26B43"/>
          </p15:clr>
        </p15:guide>
        <p15:guide id="12" pos="2717">
          <p15:clr>
            <a:srgbClr val="F26B43"/>
          </p15:clr>
        </p15:guide>
        <p15:guide id="13" pos="3159">
          <p15:clr>
            <a:srgbClr val="F26B43"/>
          </p15:clr>
        </p15:guide>
        <p15:guide id="14" pos="3317">
          <p15:clr>
            <a:srgbClr val="F26B43"/>
          </p15:clr>
        </p15:guide>
        <p15:guide id="15" pos="4361">
          <p15:clr>
            <a:srgbClr val="F26B43"/>
          </p15:clr>
        </p15:guide>
        <p15:guide id="16" pos="4518">
          <p15:clr>
            <a:srgbClr val="F26B43"/>
          </p15:clr>
        </p15:guide>
        <p15:guide id="17" pos="4962">
          <p15:clr>
            <a:srgbClr val="F26B43"/>
          </p15:clr>
        </p15:guide>
        <p15:guide id="18" pos="5120">
          <p15:clr>
            <a:srgbClr val="F26B43"/>
          </p15:clr>
        </p15:guide>
        <p15:guide id="19" pos="5562">
          <p15:clr>
            <a:srgbClr val="F26B43"/>
          </p15:clr>
        </p15:guide>
        <p15:guide id="20" pos="5720">
          <p15:clr>
            <a:srgbClr val="F26B43"/>
          </p15:clr>
        </p15:guide>
        <p15:guide id="21" pos="6164">
          <p15:clr>
            <a:srgbClr val="F26B43"/>
          </p15:clr>
        </p15:guide>
        <p15:guide id="22" pos="6321">
          <p15:clr>
            <a:srgbClr val="F26B43"/>
          </p15:clr>
        </p15:guide>
        <p15:guide id="23" pos="6764">
          <p15:clr>
            <a:srgbClr val="F26B43"/>
          </p15:clr>
        </p15:guide>
        <p15:guide id="24" pos="6921">
          <p15:clr>
            <a:srgbClr val="F26B43"/>
          </p15:clr>
        </p15:guide>
        <p15:guide id="25" orient="horz" pos="323">
          <p15:clr>
            <a:srgbClr val="F26B43"/>
          </p15:clr>
        </p15:guide>
        <p15:guide id="26" orient="horz" pos="4085">
          <p15:clr>
            <a:srgbClr val="F26B43"/>
          </p15:clr>
        </p15:guide>
        <p15:guide id="27" pos="3918">
          <p15:clr>
            <a:srgbClr val="F26B43"/>
          </p15:clr>
        </p15:guide>
        <p15:guide id="28" orient="horz" pos="795">
          <p15:clr>
            <a:srgbClr val="F26B43"/>
          </p15:clr>
        </p15:guide>
        <p15:guide id="29" orient="horz" pos="507">
          <p15:clr>
            <a:srgbClr val="F26B43"/>
          </p15:clr>
        </p15:guide>
        <p15:guide id="30" orient="horz" pos="3711">
          <p15:clr>
            <a:srgbClr val="F26B43"/>
          </p15:clr>
        </p15:guide>
        <p15:guide id="31" orient="horz" pos="1586">
          <p15:clr>
            <a:srgbClr val="F26B43"/>
          </p15:clr>
        </p15:guide>
        <p15:guide id="32" orient="horz" pos="959">
          <p15:clr>
            <a:srgbClr val="F26B43"/>
          </p15:clr>
        </p15:guide>
        <p15:guide id="33" orient="horz" pos="107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5"/>
          <p:cNvSpPr txBox="1"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5"/>
          <p:cNvSpPr txBox="1">
            <a:spLocks noGrp="1"/>
          </p:cNvSpPr>
          <p:nvPr>
            <p:ph type="body" idx="1"/>
          </p:nvPr>
        </p:nvSpPr>
        <p:spPr>
          <a:xfrm>
            <a:off x="500063" y="2520000"/>
            <a:ext cx="11191875" cy="33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5"/>
          <p:cNvSpPr txBox="1">
            <a:spLocks noGrp="1"/>
          </p:cNvSpPr>
          <p:nvPr>
            <p:ph type="ftr" idx="11"/>
          </p:nvPr>
        </p:nvSpPr>
        <p:spPr>
          <a:xfrm>
            <a:off x="8991600" y="6477425"/>
            <a:ext cx="195242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5"/>
          <p:cNvSpPr txBox="1">
            <a:spLocks noGrp="1"/>
          </p:cNvSpPr>
          <p:nvPr>
            <p:ph type="sldNum" idx="12"/>
          </p:nvPr>
        </p:nvSpPr>
        <p:spPr>
          <a:xfrm>
            <a:off x="11172825" y="6477425"/>
            <a:ext cx="519112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4" name="Google Shape;14;p5"/>
          <p:cNvGrpSpPr/>
          <p:nvPr/>
        </p:nvGrpSpPr>
        <p:grpSpPr>
          <a:xfrm>
            <a:off x="504031" y="6390186"/>
            <a:ext cx="918000" cy="213052"/>
            <a:chOff x="316" y="3952"/>
            <a:chExt cx="586" cy="136"/>
          </a:xfrm>
        </p:grpSpPr>
        <p:sp>
          <p:nvSpPr>
            <p:cNvPr id="15" name="Google Shape;15;p5"/>
            <p:cNvSpPr/>
            <p:nvPr/>
          </p:nvSpPr>
          <p:spPr>
            <a:xfrm>
              <a:off x="428" y="3990"/>
              <a:ext cx="66" cy="98"/>
            </a:xfrm>
            <a:custGeom>
              <a:avLst/>
              <a:gdLst/>
              <a:ahLst/>
              <a:cxnLst/>
              <a:rect l="l" t="t" r="r" b="b"/>
              <a:pathLst>
                <a:path w="2176" h="3230" extrusionOk="0">
                  <a:moveTo>
                    <a:pt x="662" y="2151"/>
                  </a:moveTo>
                  <a:cubicBezTo>
                    <a:pt x="662" y="2416"/>
                    <a:pt x="871" y="2574"/>
                    <a:pt x="1079" y="2574"/>
                  </a:cubicBezTo>
                  <a:cubicBezTo>
                    <a:pt x="1319" y="2574"/>
                    <a:pt x="1483" y="2435"/>
                    <a:pt x="1483" y="2183"/>
                  </a:cubicBezTo>
                  <a:cubicBezTo>
                    <a:pt x="1483" y="1829"/>
                    <a:pt x="1174" y="1804"/>
                    <a:pt x="864" y="1716"/>
                  </a:cubicBezTo>
                  <a:cubicBezTo>
                    <a:pt x="549" y="1627"/>
                    <a:pt x="208" y="1382"/>
                    <a:pt x="208" y="870"/>
                  </a:cubicBezTo>
                  <a:cubicBezTo>
                    <a:pt x="208" y="366"/>
                    <a:pt x="599" y="0"/>
                    <a:pt x="1079" y="0"/>
                  </a:cubicBezTo>
                  <a:cubicBezTo>
                    <a:pt x="1407" y="0"/>
                    <a:pt x="1653" y="145"/>
                    <a:pt x="1830" y="404"/>
                  </a:cubicBezTo>
                  <a:cubicBezTo>
                    <a:pt x="1400" y="826"/>
                    <a:pt x="1400" y="826"/>
                    <a:pt x="1400" y="826"/>
                  </a:cubicBezTo>
                  <a:cubicBezTo>
                    <a:pt x="1350" y="700"/>
                    <a:pt x="1249" y="618"/>
                    <a:pt x="1123" y="618"/>
                  </a:cubicBezTo>
                  <a:cubicBezTo>
                    <a:pt x="959" y="618"/>
                    <a:pt x="871" y="744"/>
                    <a:pt x="871" y="870"/>
                  </a:cubicBezTo>
                  <a:cubicBezTo>
                    <a:pt x="871" y="1148"/>
                    <a:pt x="1224" y="1142"/>
                    <a:pt x="1565" y="1268"/>
                  </a:cubicBezTo>
                  <a:cubicBezTo>
                    <a:pt x="1886" y="1388"/>
                    <a:pt x="2176" y="1634"/>
                    <a:pt x="2176" y="2170"/>
                  </a:cubicBezTo>
                  <a:cubicBezTo>
                    <a:pt x="2176" y="2801"/>
                    <a:pt x="1716" y="3230"/>
                    <a:pt x="1079" y="3230"/>
                  </a:cubicBezTo>
                  <a:cubicBezTo>
                    <a:pt x="429" y="3230"/>
                    <a:pt x="0" y="2751"/>
                    <a:pt x="0" y="2151"/>
                  </a:cubicBezTo>
                  <a:lnTo>
                    <a:pt x="662" y="215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16;p5"/>
            <p:cNvSpPr/>
            <p:nvPr/>
          </p:nvSpPr>
          <p:spPr>
            <a:xfrm>
              <a:off x="505" y="3991"/>
              <a:ext cx="85" cy="97"/>
            </a:xfrm>
            <a:custGeom>
              <a:avLst/>
              <a:gdLst/>
              <a:ahLst/>
              <a:cxnLst/>
              <a:rect l="l" t="t" r="r" b="b"/>
              <a:pathLst>
                <a:path w="2769" h="3192" extrusionOk="0">
                  <a:moveTo>
                    <a:pt x="2769" y="3154"/>
                  </a:moveTo>
                  <a:cubicBezTo>
                    <a:pt x="2076" y="3154"/>
                    <a:pt x="2076" y="3154"/>
                    <a:pt x="2076" y="3154"/>
                  </a:cubicBezTo>
                  <a:cubicBezTo>
                    <a:pt x="2076" y="2794"/>
                    <a:pt x="2076" y="2794"/>
                    <a:pt x="2076" y="2794"/>
                  </a:cubicBezTo>
                  <a:cubicBezTo>
                    <a:pt x="1931" y="2983"/>
                    <a:pt x="1647" y="3192"/>
                    <a:pt x="1211" y="3192"/>
                  </a:cubicBezTo>
                  <a:cubicBezTo>
                    <a:pt x="429" y="3192"/>
                    <a:pt x="0" y="2731"/>
                    <a:pt x="0" y="18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1741"/>
                    <a:pt x="694" y="1741"/>
                    <a:pt x="694" y="1741"/>
                  </a:cubicBezTo>
                  <a:cubicBezTo>
                    <a:pt x="694" y="2296"/>
                    <a:pt x="927" y="2536"/>
                    <a:pt x="1381" y="2536"/>
                  </a:cubicBezTo>
                  <a:cubicBezTo>
                    <a:pt x="1836" y="2536"/>
                    <a:pt x="2076" y="2208"/>
                    <a:pt x="2076" y="1741"/>
                  </a:cubicBezTo>
                  <a:cubicBezTo>
                    <a:pt x="2076" y="0"/>
                    <a:pt x="2076" y="0"/>
                    <a:pt x="2076" y="0"/>
                  </a:cubicBezTo>
                  <a:cubicBezTo>
                    <a:pt x="2769" y="0"/>
                    <a:pt x="2769" y="0"/>
                    <a:pt x="2769" y="0"/>
                  </a:cubicBezTo>
                  <a:lnTo>
                    <a:pt x="2769" y="3154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17;p5"/>
            <p:cNvSpPr/>
            <p:nvPr/>
          </p:nvSpPr>
          <p:spPr>
            <a:xfrm>
              <a:off x="608" y="3990"/>
              <a:ext cx="46" cy="97"/>
            </a:xfrm>
            <a:custGeom>
              <a:avLst/>
              <a:gdLst/>
              <a:ahLst/>
              <a:cxnLst/>
              <a:rect l="l" t="t" r="r" b="b"/>
              <a:pathLst>
                <a:path w="1508" h="3192" extrusionOk="0">
                  <a:moveTo>
                    <a:pt x="0" y="38"/>
                  </a:moveTo>
                  <a:cubicBezTo>
                    <a:pt x="694" y="38"/>
                    <a:pt x="694" y="38"/>
                    <a:pt x="694" y="38"/>
                  </a:cubicBezTo>
                  <a:cubicBezTo>
                    <a:pt x="694" y="366"/>
                    <a:pt x="694" y="366"/>
                    <a:pt x="694" y="366"/>
                  </a:cubicBezTo>
                  <a:cubicBezTo>
                    <a:pt x="845" y="164"/>
                    <a:pt x="1066" y="0"/>
                    <a:pt x="1508" y="0"/>
                  </a:cubicBezTo>
                  <a:cubicBezTo>
                    <a:pt x="1508" y="669"/>
                    <a:pt x="1508" y="669"/>
                    <a:pt x="1508" y="669"/>
                  </a:cubicBezTo>
                  <a:cubicBezTo>
                    <a:pt x="1445" y="669"/>
                    <a:pt x="1445" y="669"/>
                    <a:pt x="1445" y="669"/>
                  </a:cubicBezTo>
                  <a:cubicBezTo>
                    <a:pt x="1003" y="669"/>
                    <a:pt x="694" y="984"/>
                    <a:pt x="694" y="1451"/>
                  </a:cubicBezTo>
                  <a:cubicBezTo>
                    <a:pt x="694" y="3192"/>
                    <a:pt x="694" y="3192"/>
                    <a:pt x="694" y="3192"/>
                  </a:cubicBezTo>
                  <a:cubicBezTo>
                    <a:pt x="0" y="3192"/>
                    <a:pt x="0" y="3192"/>
                    <a:pt x="0" y="3192"/>
                  </a:cubicBezTo>
                  <a:lnTo>
                    <a:pt x="0" y="38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18;p5"/>
            <p:cNvSpPr/>
            <p:nvPr/>
          </p:nvSpPr>
          <p:spPr>
            <a:xfrm>
              <a:off x="664" y="3952"/>
              <a:ext cx="28" cy="135"/>
            </a:xfrm>
            <a:custGeom>
              <a:avLst/>
              <a:gdLst/>
              <a:ahLst/>
              <a:cxnLst/>
              <a:rect l="l" t="t" r="r" b="b"/>
              <a:pathLst>
                <a:path w="934" h="4454" extrusionOk="0">
                  <a:moveTo>
                    <a:pt x="467" y="0"/>
                  </a:moveTo>
                  <a:cubicBezTo>
                    <a:pt x="726" y="0"/>
                    <a:pt x="934" y="209"/>
                    <a:pt x="934" y="473"/>
                  </a:cubicBezTo>
                  <a:cubicBezTo>
                    <a:pt x="934" y="738"/>
                    <a:pt x="726" y="946"/>
                    <a:pt x="467" y="946"/>
                  </a:cubicBezTo>
                  <a:cubicBezTo>
                    <a:pt x="208" y="946"/>
                    <a:pt x="0" y="738"/>
                    <a:pt x="0" y="473"/>
                  </a:cubicBezTo>
                  <a:cubicBezTo>
                    <a:pt x="0" y="209"/>
                    <a:pt x="208" y="0"/>
                    <a:pt x="467" y="0"/>
                  </a:cubicBezTo>
                  <a:moveTo>
                    <a:pt x="120" y="1300"/>
                  </a:moveTo>
                  <a:cubicBezTo>
                    <a:pt x="814" y="1300"/>
                    <a:pt x="814" y="1300"/>
                    <a:pt x="814" y="1300"/>
                  </a:cubicBezTo>
                  <a:cubicBezTo>
                    <a:pt x="814" y="4454"/>
                    <a:pt x="814" y="4454"/>
                    <a:pt x="814" y="4454"/>
                  </a:cubicBezTo>
                  <a:cubicBezTo>
                    <a:pt x="120" y="4454"/>
                    <a:pt x="120" y="4454"/>
                    <a:pt x="120" y="4454"/>
                  </a:cubicBezTo>
                  <a:lnTo>
                    <a:pt x="120" y="130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19;p5"/>
            <p:cNvSpPr/>
            <p:nvPr/>
          </p:nvSpPr>
          <p:spPr>
            <a:xfrm>
              <a:off x="702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1" h="3230" extrusionOk="0">
                  <a:moveTo>
                    <a:pt x="1615" y="0"/>
                  </a:moveTo>
                  <a:cubicBezTo>
                    <a:pt x="2549" y="0"/>
                    <a:pt x="3231" y="694"/>
                    <a:pt x="3231" y="1615"/>
                  </a:cubicBezTo>
                  <a:cubicBezTo>
                    <a:pt x="3231" y="2536"/>
                    <a:pt x="2549" y="3230"/>
                    <a:pt x="1615" y="3230"/>
                  </a:cubicBezTo>
                  <a:cubicBezTo>
                    <a:pt x="682" y="3230"/>
                    <a:pt x="0" y="2536"/>
                    <a:pt x="0" y="1615"/>
                  </a:cubicBezTo>
                  <a:cubicBezTo>
                    <a:pt x="0" y="694"/>
                    <a:pt x="682" y="0"/>
                    <a:pt x="1615" y="0"/>
                  </a:cubicBezTo>
                  <a:moveTo>
                    <a:pt x="1615" y="2561"/>
                  </a:moveTo>
                  <a:cubicBezTo>
                    <a:pt x="2158" y="2561"/>
                    <a:pt x="2524" y="2164"/>
                    <a:pt x="2524" y="1615"/>
                  </a:cubicBezTo>
                  <a:cubicBezTo>
                    <a:pt x="2524" y="1066"/>
                    <a:pt x="2158" y="668"/>
                    <a:pt x="1615" y="668"/>
                  </a:cubicBezTo>
                  <a:cubicBezTo>
                    <a:pt x="1073" y="668"/>
                    <a:pt x="707" y="1066"/>
                    <a:pt x="707" y="1615"/>
                  </a:cubicBezTo>
                  <a:cubicBezTo>
                    <a:pt x="707" y="2164"/>
                    <a:pt x="1073" y="2561"/>
                    <a:pt x="1615" y="2561"/>
                  </a:cubicBezTo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20;p5"/>
            <p:cNvSpPr/>
            <p:nvPr/>
          </p:nvSpPr>
          <p:spPr>
            <a:xfrm>
              <a:off x="814" y="3990"/>
              <a:ext cx="88" cy="97"/>
            </a:xfrm>
            <a:custGeom>
              <a:avLst/>
              <a:gdLst/>
              <a:ahLst/>
              <a:cxnLst/>
              <a:rect l="l" t="t" r="r" b="b"/>
              <a:pathLst>
                <a:path w="2893" h="3211" extrusionOk="0">
                  <a:moveTo>
                    <a:pt x="2893" y="3211"/>
                  </a:moveTo>
                  <a:cubicBezTo>
                    <a:pt x="2214" y="3211"/>
                    <a:pt x="2214" y="3211"/>
                    <a:pt x="2214" y="3211"/>
                  </a:cubicBezTo>
                  <a:cubicBezTo>
                    <a:pt x="2214" y="1447"/>
                    <a:pt x="2214" y="1447"/>
                    <a:pt x="2214" y="1447"/>
                  </a:cubicBezTo>
                  <a:cubicBezTo>
                    <a:pt x="2214" y="1024"/>
                    <a:pt x="1870" y="679"/>
                    <a:pt x="1446" y="679"/>
                  </a:cubicBezTo>
                  <a:cubicBezTo>
                    <a:pt x="1023" y="679"/>
                    <a:pt x="679" y="1024"/>
                    <a:pt x="679" y="1447"/>
                  </a:cubicBezTo>
                  <a:cubicBezTo>
                    <a:pt x="679" y="3211"/>
                    <a:pt x="679" y="3211"/>
                    <a:pt x="679" y="3211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649"/>
                    <a:pt x="649" y="0"/>
                    <a:pt x="1446" y="0"/>
                  </a:cubicBezTo>
                  <a:cubicBezTo>
                    <a:pt x="2244" y="0"/>
                    <a:pt x="2893" y="649"/>
                    <a:pt x="2893" y="1447"/>
                  </a:cubicBezTo>
                  <a:lnTo>
                    <a:pt x="2893" y="321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21;p5"/>
            <p:cNvSpPr/>
            <p:nvPr/>
          </p:nvSpPr>
          <p:spPr>
            <a:xfrm>
              <a:off x="316" y="3990"/>
              <a:ext cx="98" cy="98"/>
            </a:xfrm>
            <a:custGeom>
              <a:avLst/>
              <a:gdLst/>
              <a:ahLst/>
              <a:cxnLst/>
              <a:rect l="l" t="t" r="r" b="b"/>
              <a:pathLst>
                <a:path w="3230" h="3230" extrusionOk="0">
                  <a:moveTo>
                    <a:pt x="1615" y="0"/>
                  </a:moveTo>
                  <a:cubicBezTo>
                    <a:pt x="723" y="0"/>
                    <a:pt x="0" y="723"/>
                    <a:pt x="0" y="1615"/>
                  </a:cubicBezTo>
                  <a:cubicBezTo>
                    <a:pt x="0" y="2507"/>
                    <a:pt x="723" y="3230"/>
                    <a:pt x="1615" y="3230"/>
                  </a:cubicBezTo>
                  <a:cubicBezTo>
                    <a:pt x="1921" y="3230"/>
                    <a:pt x="2261" y="3141"/>
                    <a:pt x="2536" y="2832"/>
                  </a:cubicBezTo>
                  <a:cubicBezTo>
                    <a:pt x="2536" y="3192"/>
                    <a:pt x="2536" y="3192"/>
                    <a:pt x="2536" y="3192"/>
                  </a:cubicBezTo>
                  <a:cubicBezTo>
                    <a:pt x="3230" y="3192"/>
                    <a:pt x="3230" y="3192"/>
                    <a:pt x="3230" y="3192"/>
                  </a:cubicBezTo>
                  <a:cubicBezTo>
                    <a:pt x="3230" y="1615"/>
                    <a:pt x="3230" y="1615"/>
                    <a:pt x="3230" y="1615"/>
                  </a:cubicBezTo>
                  <a:cubicBezTo>
                    <a:pt x="3230" y="723"/>
                    <a:pt x="2507" y="0"/>
                    <a:pt x="1615" y="0"/>
                  </a:cubicBezTo>
                  <a:moveTo>
                    <a:pt x="1615" y="2536"/>
                  </a:moveTo>
                  <a:cubicBezTo>
                    <a:pt x="1106" y="2536"/>
                    <a:pt x="694" y="2123"/>
                    <a:pt x="694" y="1615"/>
                  </a:cubicBezTo>
                  <a:cubicBezTo>
                    <a:pt x="694" y="1106"/>
                    <a:pt x="1106" y="694"/>
                    <a:pt x="1615" y="694"/>
                  </a:cubicBezTo>
                  <a:cubicBezTo>
                    <a:pt x="2123" y="694"/>
                    <a:pt x="2536" y="1106"/>
                    <a:pt x="2536" y="1615"/>
                  </a:cubicBezTo>
                  <a:cubicBezTo>
                    <a:pt x="2536" y="2123"/>
                    <a:pt x="2123" y="2536"/>
                    <a:pt x="1615" y="2536"/>
                  </a:cubicBezTo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" name="MSIPCMContentMarking" descr="{&quot;HashCode&quot;:1204982525,&quot;Placement&quot;:&quot;Footer&quot;,&quot;Top&quot;:522.0343,&quot;Left&quot;:424.873322,&quot;SlideWidth&quot;:960,&quot;SlideHeight&quot;:540}">
            <a:extLst>
              <a:ext uri="{FF2B5EF4-FFF2-40B4-BE49-F238E27FC236}">
                <a16:creationId xmlns:a16="http://schemas.microsoft.com/office/drawing/2014/main" id="{3A9BCB7B-9F9C-4EFD-BEDA-B87D5271B9A1}"/>
              </a:ext>
            </a:extLst>
          </p:cNvPr>
          <p:cNvSpPr txBox="1"/>
          <p:nvPr userDrawn="1"/>
        </p:nvSpPr>
        <p:spPr>
          <a:xfrm>
            <a:off x="5395891" y="6629836"/>
            <a:ext cx="1400218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737373"/>
                </a:solidFill>
                <a:latin typeface="Calibri" panose="020F0502020204030204" pitchFamily="34" charset="0"/>
              </a:rPr>
              <a:t>Asurion_Internal_Use_Only</a:t>
            </a:r>
          </a:p>
        </p:txBody>
      </p:sp>
    </p:spTree>
    <p:extLst>
      <p:ext uri="{BB962C8B-B14F-4D97-AF65-F5344CB8AC3E}">
        <p14:creationId xmlns:p14="http://schemas.microsoft.com/office/powerpoint/2010/main" val="188130819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97" r:id="rId1"/>
    <p:sldLayoutId id="2147483998" r:id="rId2"/>
    <p:sldLayoutId id="2147483999" r:id="rId3"/>
    <p:sldLayoutId id="2147484001" r:id="rId4"/>
    <p:sldLayoutId id="2147484002" r:id="rId5"/>
    <p:sldLayoutId id="2147484003" r:id="rId6"/>
    <p:sldLayoutId id="2147484004" r:id="rId7"/>
    <p:sldLayoutId id="2147484005" r:id="rId8"/>
    <p:sldLayoutId id="2147484006" r:id="rId9"/>
    <p:sldLayoutId id="2147484007" r:id="rId10"/>
    <p:sldLayoutId id="2147484008" r:id="rId11"/>
    <p:sldLayoutId id="2147484009" r:id="rId12"/>
    <p:sldLayoutId id="2147484010" r:id="rId13"/>
    <p:sldLayoutId id="2147484011" r:id="rId14"/>
    <p:sldLayoutId id="2147484012" r:id="rId15"/>
    <p:sldLayoutId id="2147484013" r:id="rId16"/>
    <p:sldLayoutId id="2147484014" r:id="rId17"/>
    <p:sldLayoutId id="2147484015" r:id="rId18"/>
    <p:sldLayoutId id="2147484016" r:id="rId19"/>
    <p:sldLayoutId id="2147484017" r:id="rId20"/>
    <p:sldLayoutId id="2147484018" r:id="rId21"/>
    <p:sldLayoutId id="2147484019" r:id="rId22"/>
    <p:sldLayoutId id="2147484020" r:id="rId23"/>
    <p:sldLayoutId id="2147484021" r:id="rId24"/>
    <p:sldLayoutId id="2147484022" r:id="rId25"/>
    <p:sldLayoutId id="2147484023" r:id="rId26"/>
    <p:sldLayoutId id="2147484024" r:id="rId27"/>
    <p:sldLayoutId id="2147484025" r:id="rId28"/>
    <p:sldLayoutId id="2147484026" r:id="rId29"/>
    <p:sldLayoutId id="2147484027" r:id="rId30"/>
    <p:sldLayoutId id="2147484028" r:id="rId31"/>
    <p:sldLayoutId id="2147484029" r:id="rId32"/>
    <p:sldLayoutId id="2147484030" r:id="rId33"/>
    <p:sldLayoutId id="2147484031" r:id="rId34"/>
    <p:sldLayoutId id="2147484032" r:id="rId35"/>
    <p:sldLayoutId id="2147484033" r:id="rId36"/>
    <p:sldLayoutId id="2147484034" r:id="rId37"/>
    <p:sldLayoutId id="2147484035" r:id="rId38"/>
    <p:sldLayoutId id="2147484036" r:id="rId39"/>
    <p:sldLayoutId id="2147484037" r:id="rId40"/>
    <p:sldLayoutId id="2147484038" r:id="rId41"/>
    <p:sldLayoutId id="2147484039" r:id="rId42"/>
    <p:sldLayoutId id="2147484040" r:id="rId43"/>
    <p:sldLayoutId id="2147484041" r:id="rId44"/>
    <p:sldLayoutId id="2147484042" r:id="rId45"/>
    <p:sldLayoutId id="2147484043" r:id="rId46"/>
    <p:sldLayoutId id="2147484044" r:id="rId47"/>
    <p:sldLayoutId id="2147484045" r:id="rId48"/>
    <p:sldLayoutId id="2147484046" r:id="rId49"/>
    <p:sldLayoutId id="2147484047" r:id="rId50"/>
    <p:sldLayoutId id="2147484048" r:id="rId51"/>
    <p:sldLayoutId id="2147484049" r:id="rId52"/>
    <p:sldLayoutId id="2147484050" r:id="rId53"/>
    <p:sldLayoutId id="2147484051" r:id="rId54"/>
    <p:sldLayoutId id="2147484052" r:id="rId55"/>
    <p:sldLayoutId id="2147484053" r:id="rId56"/>
    <p:sldLayoutId id="2147484054" r:id="rId5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3761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315">
          <p15:clr>
            <a:srgbClr val="F26B43"/>
          </p15:clr>
        </p15:guide>
        <p15:guide id="4" pos="7365">
          <p15:clr>
            <a:srgbClr val="F26B43"/>
          </p15:clr>
        </p15:guide>
        <p15:guide id="5" pos="756">
          <p15:clr>
            <a:srgbClr val="F26B43"/>
          </p15:clr>
        </p15:guide>
        <p15:guide id="6" pos="914">
          <p15:clr>
            <a:srgbClr val="F26B43"/>
          </p15:clr>
        </p15:guide>
        <p15:guide id="7" pos="1358">
          <p15:clr>
            <a:srgbClr val="F26B43"/>
          </p15:clr>
        </p15:guide>
        <p15:guide id="8" pos="1515">
          <p15:clr>
            <a:srgbClr val="F26B43"/>
          </p15:clr>
        </p15:guide>
        <p15:guide id="9" pos="1958">
          <p15:clr>
            <a:srgbClr val="F26B43"/>
          </p15:clr>
        </p15:guide>
        <p15:guide id="10" pos="2115">
          <p15:clr>
            <a:srgbClr val="F26B43"/>
          </p15:clr>
        </p15:guide>
        <p15:guide id="11" pos="2559">
          <p15:clr>
            <a:srgbClr val="F26B43"/>
          </p15:clr>
        </p15:guide>
        <p15:guide id="12" pos="2717">
          <p15:clr>
            <a:srgbClr val="F26B43"/>
          </p15:clr>
        </p15:guide>
        <p15:guide id="13" pos="3159">
          <p15:clr>
            <a:srgbClr val="F26B43"/>
          </p15:clr>
        </p15:guide>
        <p15:guide id="14" pos="3317">
          <p15:clr>
            <a:srgbClr val="F26B43"/>
          </p15:clr>
        </p15:guide>
        <p15:guide id="15" pos="4361">
          <p15:clr>
            <a:srgbClr val="F26B43"/>
          </p15:clr>
        </p15:guide>
        <p15:guide id="16" pos="4518">
          <p15:clr>
            <a:srgbClr val="F26B43"/>
          </p15:clr>
        </p15:guide>
        <p15:guide id="17" pos="4962">
          <p15:clr>
            <a:srgbClr val="F26B43"/>
          </p15:clr>
        </p15:guide>
        <p15:guide id="18" pos="5120">
          <p15:clr>
            <a:srgbClr val="F26B43"/>
          </p15:clr>
        </p15:guide>
        <p15:guide id="19" pos="5562">
          <p15:clr>
            <a:srgbClr val="F26B43"/>
          </p15:clr>
        </p15:guide>
        <p15:guide id="20" pos="5720">
          <p15:clr>
            <a:srgbClr val="F26B43"/>
          </p15:clr>
        </p15:guide>
        <p15:guide id="21" pos="6164">
          <p15:clr>
            <a:srgbClr val="F26B43"/>
          </p15:clr>
        </p15:guide>
        <p15:guide id="22" pos="6321">
          <p15:clr>
            <a:srgbClr val="F26B43"/>
          </p15:clr>
        </p15:guide>
        <p15:guide id="23" pos="6764">
          <p15:clr>
            <a:srgbClr val="F26B43"/>
          </p15:clr>
        </p15:guide>
        <p15:guide id="24" pos="6921">
          <p15:clr>
            <a:srgbClr val="F26B43"/>
          </p15:clr>
        </p15:guide>
        <p15:guide id="25" orient="horz" pos="323">
          <p15:clr>
            <a:srgbClr val="F26B43"/>
          </p15:clr>
        </p15:guide>
        <p15:guide id="26" orient="horz" pos="4085">
          <p15:clr>
            <a:srgbClr val="F26B43"/>
          </p15:clr>
        </p15:guide>
        <p15:guide id="27" pos="3918">
          <p15:clr>
            <a:srgbClr val="F26B43"/>
          </p15:clr>
        </p15:guide>
        <p15:guide id="28" orient="horz" pos="795">
          <p15:clr>
            <a:srgbClr val="F26B43"/>
          </p15:clr>
        </p15:guide>
        <p15:guide id="29" orient="horz" pos="507">
          <p15:clr>
            <a:srgbClr val="F26B43"/>
          </p15:clr>
        </p15:guide>
        <p15:guide id="30" orient="horz" pos="3711">
          <p15:clr>
            <a:srgbClr val="F26B43"/>
          </p15:clr>
        </p15:guide>
        <p15:guide id="31" orient="horz" pos="1586">
          <p15:clr>
            <a:srgbClr val="F26B43"/>
          </p15:clr>
        </p15:guide>
        <p15:guide id="32" orient="horz" pos="959">
          <p15:clr>
            <a:srgbClr val="F26B43"/>
          </p15:clr>
        </p15:guide>
        <p15:guide id="33" orient="horz" pos="107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3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microsoft.com/office/2007/relationships/hdphoto" Target="../media/hdphoto5.wdp"/><Relationship Id="rId7" Type="http://schemas.microsoft.com/office/2007/relationships/hdphoto" Target="../media/hdphoto7.wdp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8.png"/><Relationship Id="rId5" Type="http://schemas.microsoft.com/office/2007/relationships/hdphoto" Target="../media/hdphoto6.wdp"/><Relationship Id="rId4" Type="http://schemas.openxmlformats.org/officeDocument/2006/relationships/image" Target="../media/image27.png"/><Relationship Id="rId9" Type="http://schemas.microsoft.com/office/2007/relationships/hdphoto" Target="../media/hdphoto8.wdp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0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6.png"/><Relationship Id="rId5" Type="http://schemas.openxmlformats.org/officeDocument/2006/relationships/image" Target="../media/image35.svg"/><Relationship Id="rId4" Type="http://schemas.openxmlformats.org/officeDocument/2006/relationships/image" Target="../media/image34.png"/><Relationship Id="rId9" Type="http://schemas.openxmlformats.org/officeDocument/2006/relationships/image" Target="../media/image39.pn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12.png"/><Relationship Id="rId7" Type="http://schemas.openxmlformats.org/officeDocument/2006/relationships/image" Target="../media/image14.png"/><Relationship Id="rId12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.xml"/><Relationship Id="rId6" Type="http://schemas.microsoft.com/office/2007/relationships/hdphoto" Target="../media/hdphoto2.wdp"/><Relationship Id="rId11" Type="http://schemas.openxmlformats.org/officeDocument/2006/relationships/image" Target="../media/image16.png"/><Relationship Id="rId5" Type="http://schemas.openxmlformats.org/officeDocument/2006/relationships/image" Target="../media/image13.pn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://mazo.dsc.npr.aws.asurion.net:8501/" TargetMode="External"/><Relationship Id="rId1" Type="http://schemas.openxmlformats.org/officeDocument/2006/relationships/slideLayout" Target="../slideLayouts/slideLayout3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D129679-AB40-F243-B826-ACF64B6256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938" y="140677"/>
            <a:ext cx="6217921" cy="2453661"/>
          </a:xfrm>
        </p:spPr>
        <p:txBody>
          <a:bodyPr/>
          <a:lstStyle/>
          <a:p>
            <a:r>
              <a:rPr lang="en-US" dirty="0"/>
              <a:t>Major Appliance Network Optimizat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F101D04-C6C3-B54E-A758-19A176AAC3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Nisarg</a:t>
            </a:r>
            <a:r>
              <a:rPr lang="en-US"/>
              <a:t> Dave</a:t>
            </a:r>
          </a:p>
          <a:p>
            <a:r>
              <a:rPr lang="en-US" dirty="0"/>
              <a:t>Ruta</a:t>
            </a:r>
            <a:r>
              <a:rPr lang="en-US"/>
              <a:t> Deshmukh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AAF57AD-D363-2F4E-BB8A-9FDB6215FF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April </a:t>
            </a:r>
            <a:r>
              <a:rPr lang="en-US" dirty="0"/>
              <a:t>21</a:t>
            </a:r>
            <a:r>
              <a:rPr lang="en-US"/>
              <a:t>, 2022</a:t>
            </a:r>
          </a:p>
        </p:txBody>
      </p:sp>
    </p:spTree>
    <p:extLst>
      <p:ext uri="{BB962C8B-B14F-4D97-AF65-F5344CB8AC3E}">
        <p14:creationId xmlns:p14="http://schemas.microsoft.com/office/powerpoint/2010/main" val="3006555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A7E1D4-31B4-894A-BD06-C7F3027704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ansas city coverag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DA6C553-76B7-4373-8630-DCF6E5F17B2A}"/>
              </a:ext>
            </a:extLst>
          </p:cNvPr>
          <p:cNvSpPr/>
          <p:nvPr/>
        </p:nvSpPr>
        <p:spPr>
          <a:xfrm>
            <a:off x="6312692" y="5219700"/>
            <a:ext cx="5095876" cy="8001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>
                <a:solidFill>
                  <a:schemeClr val="tx1"/>
                </a:solidFill>
                <a:cs typeface="Georgia"/>
              </a:rPr>
              <a:t>Dots on the map represent locations of customer who have filed a claim with Asurion from </a:t>
            </a:r>
            <a:r>
              <a:rPr lang="en-US" sz="1200" dirty="0">
                <a:solidFill>
                  <a:schemeClr val="tx1"/>
                </a:solidFill>
                <a:cs typeface="Georgia"/>
              </a:rPr>
              <a:t>Kansas City </a:t>
            </a:r>
            <a:r>
              <a:rPr lang="en-US" sz="1200">
                <a:solidFill>
                  <a:schemeClr val="tx1"/>
                </a:solidFill>
                <a:cs typeface="Georgia"/>
              </a:rPr>
              <a:t>market. </a:t>
            </a:r>
            <a:r>
              <a:rPr lang="en-US" sz="1200" dirty="0">
                <a:solidFill>
                  <a:schemeClr val="tx1"/>
                </a:solidFill>
                <a:cs typeface="Georgia"/>
              </a:rPr>
              <a:t>Blue</a:t>
            </a:r>
            <a:r>
              <a:rPr lang="en-US" sz="1200">
                <a:solidFill>
                  <a:schemeClr val="tx1"/>
                </a:solidFill>
                <a:cs typeface="Georgia"/>
              </a:rPr>
              <a:t> dots are jobs that take significant travel time for techs. Islands near Sandusky take entire day to travel for a tech.</a:t>
            </a:r>
          </a:p>
          <a:p>
            <a:endParaRPr lang="en-US" sz="1200" dirty="0">
              <a:solidFill>
                <a:schemeClr val="tx1"/>
              </a:solidFill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E8D2D2F9-E999-49B4-8F25-AC007D127776}"/>
              </a:ext>
            </a:extLst>
          </p:cNvPr>
          <p:cNvGrpSpPr/>
          <p:nvPr/>
        </p:nvGrpSpPr>
        <p:grpSpPr>
          <a:xfrm>
            <a:off x="859632" y="2882692"/>
            <a:ext cx="4629151" cy="2845882"/>
            <a:chOff x="716757" y="1358692"/>
            <a:chExt cx="4629151" cy="2845882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F36FDD48-93EC-4F8B-8F57-30F3A5AB7133}"/>
                </a:ext>
              </a:extLst>
            </p:cNvPr>
            <p:cNvGrpSpPr/>
            <p:nvPr/>
          </p:nvGrpSpPr>
          <p:grpSpPr>
            <a:xfrm>
              <a:off x="716757" y="2114023"/>
              <a:ext cx="4629150" cy="640081"/>
              <a:chOff x="716757" y="2234991"/>
              <a:chExt cx="4629150" cy="64008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CF23DF68-2920-455B-8BE7-E440A1A97717}"/>
                  </a:ext>
                </a:extLst>
              </p:cNvPr>
              <p:cNvSpPr/>
              <p:nvPr/>
            </p:nvSpPr>
            <p:spPr>
              <a:xfrm>
                <a:off x="716757" y="2234992"/>
                <a:ext cx="4629150" cy="64008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>
                    <a:solidFill>
                      <a:schemeClr val="tx1"/>
                    </a:solidFill>
                  </a:rPr>
                  <a:t>Jobs in last 24 months</a:t>
                </a: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3AF64DF1-58E5-42F3-A58F-41A922A22A1B}"/>
                  </a:ext>
                </a:extLst>
              </p:cNvPr>
              <p:cNvSpPr/>
              <p:nvPr/>
            </p:nvSpPr>
            <p:spPr>
              <a:xfrm>
                <a:off x="4250532" y="2234991"/>
                <a:ext cx="1095375" cy="64008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>
                    <a:solidFill>
                      <a:schemeClr val="tx1"/>
                    </a:solidFill>
                  </a:rPr>
                  <a:t>4,139</a:t>
                </a:r>
                <a:endParaRPr lang="en-US" sz="240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229E2DDF-E725-47EE-9CD7-B75C30D03A2B}"/>
                </a:ext>
              </a:extLst>
            </p:cNvPr>
            <p:cNvGrpSpPr/>
            <p:nvPr/>
          </p:nvGrpSpPr>
          <p:grpSpPr>
            <a:xfrm>
              <a:off x="716757" y="1358692"/>
              <a:ext cx="4629151" cy="651083"/>
              <a:chOff x="716757" y="1358692"/>
              <a:chExt cx="4629151" cy="651083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6F0290E3-998A-49D1-8AD2-0A8FB8D140A4}"/>
                  </a:ext>
                </a:extLst>
              </p:cNvPr>
              <p:cNvSpPr/>
              <p:nvPr/>
            </p:nvSpPr>
            <p:spPr>
              <a:xfrm>
                <a:off x="716757" y="1358692"/>
                <a:ext cx="4629150" cy="651083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>
                    <a:solidFill>
                      <a:schemeClr val="tx1"/>
                    </a:solidFill>
                    <a:cs typeface="Georgia"/>
                  </a:rPr>
                  <a:t>Total zip codes covered (OEM+D2C):       </a:t>
                </a:r>
                <a:endParaRPr lang="en-US" sz="1600" b="1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ED3CB87C-83C5-4BB1-91B2-E9AF1B812541}"/>
                  </a:ext>
                </a:extLst>
              </p:cNvPr>
              <p:cNvSpPr/>
              <p:nvPr/>
            </p:nvSpPr>
            <p:spPr>
              <a:xfrm>
                <a:off x="4250532" y="1358692"/>
                <a:ext cx="1095376" cy="651083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>
                    <a:solidFill>
                      <a:schemeClr val="tx1"/>
                    </a:solidFill>
                  </a:rPr>
                  <a:t>355</a:t>
                </a:r>
                <a:endParaRPr lang="en-US" sz="240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5713F55E-7DF9-4A51-88DF-0B2AA8997492}"/>
                </a:ext>
              </a:extLst>
            </p:cNvPr>
            <p:cNvGrpSpPr/>
            <p:nvPr/>
          </p:nvGrpSpPr>
          <p:grpSpPr>
            <a:xfrm>
              <a:off x="716757" y="2828199"/>
              <a:ext cx="4629150" cy="649605"/>
              <a:chOff x="716757" y="3101767"/>
              <a:chExt cx="4629150" cy="649605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4322E38B-6336-4411-8B05-6632C1802BB7}"/>
                  </a:ext>
                </a:extLst>
              </p:cNvPr>
              <p:cNvSpPr/>
              <p:nvPr/>
            </p:nvSpPr>
            <p:spPr>
              <a:xfrm>
                <a:off x="716757" y="3111292"/>
                <a:ext cx="4629150" cy="64008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>
                    <a:solidFill>
                      <a:schemeClr val="tx1"/>
                    </a:solidFill>
                  </a:rPr>
                  <a:t>Bookings per day per tech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B2947A9-641F-4B72-ACC5-7422BC240A10}"/>
                  </a:ext>
                </a:extLst>
              </p:cNvPr>
              <p:cNvSpPr/>
              <p:nvPr/>
            </p:nvSpPr>
            <p:spPr>
              <a:xfrm>
                <a:off x="4250531" y="3101767"/>
                <a:ext cx="1095375" cy="64008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>
                    <a:solidFill>
                      <a:schemeClr val="tx1"/>
                    </a:solidFill>
                  </a:rPr>
                  <a:t>5.5</a:t>
                </a:r>
                <a:endParaRPr lang="en-US" sz="24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68FC36C1-1A4A-4772-9F76-F6E79FFFE7D7}"/>
                </a:ext>
              </a:extLst>
            </p:cNvPr>
            <p:cNvGrpSpPr/>
            <p:nvPr/>
          </p:nvGrpSpPr>
          <p:grpSpPr>
            <a:xfrm>
              <a:off x="716757" y="3561424"/>
              <a:ext cx="4629150" cy="643150"/>
              <a:chOff x="716757" y="3987592"/>
              <a:chExt cx="4629150" cy="643150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CB083301-2FBA-4AEB-9B1D-C99C0256F226}"/>
                  </a:ext>
                </a:extLst>
              </p:cNvPr>
              <p:cNvSpPr/>
              <p:nvPr/>
            </p:nvSpPr>
            <p:spPr>
              <a:xfrm>
                <a:off x="716757" y="3987592"/>
                <a:ext cx="4629150" cy="64008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>
                    <a:solidFill>
                      <a:schemeClr val="tx1"/>
                    </a:solidFill>
                  </a:rPr>
                  <a:t>Completes per day per tech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A6846B57-68B7-4E93-A282-46DDC154BE02}"/>
                  </a:ext>
                </a:extLst>
              </p:cNvPr>
              <p:cNvSpPr/>
              <p:nvPr/>
            </p:nvSpPr>
            <p:spPr>
              <a:xfrm>
                <a:off x="4243386" y="3990662"/>
                <a:ext cx="1095375" cy="64008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>
                    <a:solidFill>
                      <a:schemeClr val="tx1"/>
                    </a:solidFill>
                  </a:rPr>
                  <a:t>2.7</a:t>
                </a:r>
              </a:p>
            </p:txBody>
          </p:sp>
        </p:grp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BBA97214-F3D1-450D-8FAC-3E12C229EC3D}"/>
              </a:ext>
            </a:extLst>
          </p:cNvPr>
          <p:cNvGrpSpPr/>
          <p:nvPr/>
        </p:nvGrpSpPr>
        <p:grpSpPr>
          <a:xfrm>
            <a:off x="1442440" y="1410869"/>
            <a:ext cx="1411595" cy="1088142"/>
            <a:chOff x="1314448" y="1464246"/>
            <a:chExt cx="1306116" cy="1088142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9CAD18C4-0903-4BB9-B167-FE6743660130}"/>
                </a:ext>
              </a:extLst>
            </p:cNvPr>
            <p:cNvSpPr/>
            <p:nvPr/>
          </p:nvSpPr>
          <p:spPr>
            <a:xfrm>
              <a:off x="1314448" y="1464246"/>
              <a:ext cx="1306116" cy="65108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>
                  <a:solidFill>
                    <a:schemeClr val="accent1"/>
                  </a:solidFill>
                </a:rPr>
                <a:t>150 miles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A256E73E-2836-4FCA-9D32-43606E9A1A45}"/>
                </a:ext>
              </a:extLst>
            </p:cNvPr>
            <p:cNvSpPr/>
            <p:nvPr/>
          </p:nvSpPr>
          <p:spPr>
            <a:xfrm>
              <a:off x="1314448" y="1901305"/>
              <a:ext cx="1306116" cy="65108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*Avg miles tech drives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588FCD8-9E7A-4829-9887-3D783475E234}"/>
              </a:ext>
            </a:extLst>
          </p:cNvPr>
          <p:cNvGrpSpPr/>
          <p:nvPr/>
        </p:nvGrpSpPr>
        <p:grpSpPr>
          <a:xfrm>
            <a:off x="3381967" y="1410869"/>
            <a:ext cx="1306116" cy="1080136"/>
            <a:chOff x="3751658" y="1464246"/>
            <a:chExt cx="1306116" cy="1080136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8AE9A97-C8E0-4095-B41B-B489500A264C}"/>
                </a:ext>
              </a:extLst>
            </p:cNvPr>
            <p:cNvSpPr/>
            <p:nvPr/>
          </p:nvSpPr>
          <p:spPr>
            <a:xfrm>
              <a:off x="3751658" y="1464246"/>
              <a:ext cx="1306116" cy="65108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>
                  <a:solidFill>
                    <a:schemeClr val="accent1"/>
                  </a:solidFill>
                </a:rPr>
                <a:t> 4 hours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6FDCC2BE-A4D2-4FEA-99AD-FD84792247C6}"/>
                </a:ext>
              </a:extLst>
            </p:cNvPr>
            <p:cNvSpPr/>
            <p:nvPr/>
          </p:nvSpPr>
          <p:spPr>
            <a:xfrm>
              <a:off x="3751658" y="1957676"/>
              <a:ext cx="1306116" cy="58670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*Avg duration tech drives</a:t>
              </a: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21E6A0A-6BBD-4D86-A5CB-E8CE50D8DA2E}"/>
              </a:ext>
            </a:extLst>
          </p:cNvPr>
          <p:cNvSpPr txBox="1"/>
          <p:nvPr/>
        </p:nvSpPr>
        <p:spPr>
          <a:xfrm>
            <a:off x="949254" y="5919772"/>
            <a:ext cx="4539527" cy="200055"/>
          </a:xfrm>
          <a:prstGeom prst="rect">
            <a:avLst/>
          </a:prstGeom>
          <a:noFill/>
        </p:spPr>
        <p:txBody>
          <a:bodyPr wrap="square" lIns="0" rIns="0" bIns="0" rtlCol="0">
            <a:spAutoFit/>
          </a:bodyPr>
          <a:lstStyle/>
          <a:p>
            <a:pPr algn="l"/>
            <a:r>
              <a:rPr lang="en-US" sz="1000">
                <a:cs typeface="Georgia"/>
              </a:rPr>
              <a:t>* Avg miles and Avg durations are calculated using simulation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5A27743-0402-4CC0-AB60-E5C8D4EEAE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19837" y="1081506"/>
            <a:ext cx="4845460" cy="4027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2985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A2EE2CA-0520-4297-9660-221A18D256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73595" y="1031184"/>
            <a:ext cx="4629150" cy="421474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4A7E1D4-31B4-894A-BD06-C7F3027704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ansas city coverage - Propose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DA6C553-76B7-4373-8630-DCF6E5F17B2A}"/>
              </a:ext>
            </a:extLst>
          </p:cNvPr>
          <p:cNvSpPr/>
          <p:nvPr/>
        </p:nvSpPr>
        <p:spPr>
          <a:xfrm>
            <a:off x="6340232" y="5298944"/>
            <a:ext cx="5095876" cy="8001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1"/>
                </a:solidFill>
                <a:cs typeface="Georgia"/>
              </a:rPr>
              <a:t>Dots on the map represent locations of customer who have filed a claim with Asurion from Kansas City market. Blue dots are jobs that take significant travel time for techs.</a:t>
            </a:r>
          </a:p>
          <a:p>
            <a:endParaRPr lang="en-US" sz="1200" dirty="0">
              <a:solidFill>
                <a:schemeClr val="tx1"/>
              </a:solidFill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E8D2D2F9-E999-49B4-8F25-AC007D127776}"/>
              </a:ext>
            </a:extLst>
          </p:cNvPr>
          <p:cNvGrpSpPr/>
          <p:nvPr/>
        </p:nvGrpSpPr>
        <p:grpSpPr>
          <a:xfrm>
            <a:off x="859632" y="2882692"/>
            <a:ext cx="4629151" cy="2119112"/>
            <a:chOff x="716757" y="1358692"/>
            <a:chExt cx="4629151" cy="2119112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F36FDD48-93EC-4F8B-8F57-30F3A5AB7133}"/>
                </a:ext>
              </a:extLst>
            </p:cNvPr>
            <p:cNvGrpSpPr/>
            <p:nvPr/>
          </p:nvGrpSpPr>
          <p:grpSpPr>
            <a:xfrm>
              <a:off x="716757" y="2114023"/>
              <a:ext cx="4629150" cy="640081"/>
              <a:chOff x="716757" y="2234991"/>
              <a:chExt cx="4629150" cy="64008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CF23DF68-2920-455B-8BE7-E440A1A97717}"/>
                  </a:ext>
                </a:extLst>
              </p:cNvPr>
              <p:cNvSpPr/>
              <p:nvPr/>
            </p:nvSpPr>
            <p:spPr>
              <a:xfrm>
                <a:off x="716757" y="2234992"/>
                <a:ext cx="4629150" cy="64008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>
                    <a:solidFill>
                      <a:schemeClr val="tx1"/>
                    </a:solidFill>
                  </a:rPr>
                  <a:t>Jobs in last 24 months</a:t>
                </a: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3AF64DF1-58E5-42F3-A58F-41A922A22A1B}"/>
                  </a:ext>
                </a:extLst>
              </p:cNvPr>
              <p:cNvSpPr/>
              <p:nvPr/>
            </p:nvSpPr>
            <p:spPr>
              <a:xfrm>
                <a:off x="4250532" y="2234991"/>
                <a:ext cx="1095375" cy="64008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>
                    <a:solidFill>
                      <a:schemeClr val="tx1"/>
                    </a:solidFill>
                  </a:rPr>
                  <a:t>3,346</a:t>
                </a:r>
                <a:endParaRPr lang="en-US" sz="24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229E2DDF-E725-47EE-9CD7-B75C30D03A2B}"/>
                </a:ext>
              </a:extLst>
            </p:cNvPr>
            <p:cNvGrpSpPr/>
            <p:nvPr/>
          </p:nvGrpSpPr>
          <p:grpSpPr>
            <a:xfrm>
              <a:off x="716757" y="1358692"/>
              <a:ext cx="4629151" cy="651083"/>
              <a:chOff x="716757" y="1358692"/>
              <a:chExt cx="4629151" cy="651083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6F0290E3-998A-49D1-8AD2-0A8FB8D140A4}"/>
                  </a:ext>
                </a:extLst>
              </p:cNvPr>
              <p:cNvSpPr/>
              <p:nvPr/>
            </p:nvSpPr>
            <p:spPr>
              <a:xfrm>
                <a:off x="716757" y="1358692"/>
                <a:ext cx="4629150" cy="651083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>
                    <a:solidFill>
                      <a:schemeClr val="tx1"/>
                    </a:solidFill>
                    <a:cs typeface="Georgia"/>
                  </a:rPr>
                  <a:t>Total zip codes covered (OEM+D2C):       </a:t>
                </a:r>
                <a:endParaRPr lang="en-US" sz="1600" b="1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ED3CB87C-83C5-4BB1-91B2-E9AF1B812541}"/>
                  </a:ext>
                </a:extLst>
              </p:cNvPr>
              <p:cNvSpPr/>
              <p:nvPr/>
            </p:nvSpPr>
            <p:spPr>
              <a:xfrm>
                <a:off x="4250532" y="1358692"/>
                <a:ext cx="1095376" cy="651083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>
                    <a:solidFill>
                      <a:schemeClr val="tx1"/>
                    </a:solidFill>
                  </a:rPr>
                  <a:t>130</a:t>
                </a:r>
                <a:endParaRPr lang="en-US" sz="24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5713F55E-7DF9-4A51-88DF-0B2AA8997492}"/>
                </a:ext>
              </a:extLst>
            </p:cNvPr>
            <p:cNvGrpSpPr/>
            <p:nvPr/>
          </p:nvGrpSpPr>
          <p:grpSpPr>
            <a:xfrm>
              <a:off x="716757" y="2828199"/>
              <a:ext cx="4629150" cy="649605"/>
              <a:chOff x="716757" y="3101767"/>
              <a:chExt cx="4629150" cy="649605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4322E38B-6336-4411-8B05-6632C1802BB7}"/>
                  </a:ext>
                </a:extLst>
              </p:cNvPr>
              <p:cNvSpPr/>
              <p:nvPr/>
            </p:nvSpPr>
            <p:spPr>
              <a:xfrm>
                <a:off x="716757" y="3111292"/>
                <a:ext cx="4629150" cy="64008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>
                    <a:solidFill>
                      <a:schemeClr val="tx1"/>
                    </a:solidFill>
                  </a:rPr>
                  <a:t>Bookings per day per tech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B2947A9-641F-4B72-ACC5-7422BC240A10}"/>
                  </a:ext>
                </a:extLst>
              </p:cNvPr>
              <p:cNvSpPr/>
              <p:nvPr/>
            </p:nvSpPr>
            <p:spPr>
              <a:xfrm>
                <a:off x="4250531" y="3101767"/>
                <a:ext cx="1095375" cy="64008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>
                    <a:solidFill>
                      <a:schemeClr val="tx1"/>
                    </a:solidFill>
                  </a:rPr>
                  <a:t>5.5 +2</a:t>
                </a:r>
                <a:endParaRPr lang="en-US" sz="2400" dirty="0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BBA97214-F3D1-450D-8FAC-3E12C229EC3D}"/>
              </a:ext>
            </a:extLst>
          </p:cNvPr>
          <p:cNvGrpSpPr/>
          <p:nvPr/>
        </p:nvGrpSpPr>
        <p:grpSpPr>
          <a:xfrm>
            <a:off x="1442440" y="1410869"/>
            <a:ext cx="1411595" cy="1088142"/>
            <a:chOff x="1314448" y="1464246"/>
            <a:chExt cx="1306116" cy="1088142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9CAD18C4-0903-4BB9-B167-FE6743660130}"/>
                </a:ext>
              </a:extLst>
            </p:cNvPr>
            <p:cNvSpPr/>
            <p:nvPr/>
          </p:nvSpPr>
          <p:spPr>
            <a:xfrm>
              <a:off x="1314448" y="1464246"/>
              <a:ext cx="1306116" cy="65108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>
                  <a:solidFill>
                    <a:schemeClr val="accent1"/>
                  </a:solidFill>
                </a:rPr>
                <a:t>36 miles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A256E73E-2836-4FCA-9D32-43606E9A1A45}"/>
                </a:ext>
              </a:extLst>
            </p:cNvPr>
            <p:cNvSpPr/>
            <p:nvPr/>
          </p:nvSpPr>
          <p:spPr>
            <a:xfrm>
              <a:off x="1314448" y="1901305"/>
              <a:ext cx="1306116" cy="65108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*Avg miles tech drives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588FCD8-9E7A-4829-9887-3D783475E234}"/>
              </a:ext>
            </a:extLst>
          </p:cNvPr>
          <p:cNvGrpSpPr/>
          <p:nvPr/>
        </p:nvGrpSpPr>
        <p:grpSpPr>
          <a:xfrm>
            <a:off x="3381967" y="1410869"/>
            <a:ext cx="1306116" cy="1080136"/>
            <a:chOff x="3751658" y="1464246"/>
            <a:chExt cx="1306116" cy="1080136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8AE9A97-C8E0-4095-B41B-B489500A264C}"/>
                </a:ext>
              </a:extLst>
            </p:cNvPr>
            <p:cNvSpPr/>
            <p:nvPr/>
          </p:nvSpPr>
          <p:spPr>
            <a:xfrm>
              <a:off x="3751658" y="1464246"/>
              <a:ext cx="1306116" cy="65108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>
                  <a:solidFill>
                    <a:schemeClr val="accent1"/>
                  </a:solidFill>
                </a:rPr>
                <a:t> 70 mins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6FDCC2BE-A4D2-4FEA-99AD-FD84792247C6}"/>
                </a:ext>
              </a:extLst>
            </p:cNvPr>
            <p:cNvSpPr/>
            <p:nvPr/>
          </p:nvSpPr>
          <p:spPr>
            <a:xfrm>
              <a:off x="3751658" y="1957676"/>
              <a:ext cx="1306116" cy="58670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*Avg duration tech drives</a:t>
              </a: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21E6A0A-6BBD-4D86-A5CB-E8CE50D8DA2E}"/>
              </a:ext>
            </a:extLst>
          </p:cNvPr>
          <p:cNvSpPr txBox="1"/>
          <p:nvPr/>
        </p:nvSpPr>
        <p:spPr>
          <a:xfrm>
            <a:off x="949254" y="5919772"/>
            <a:ext cx="4539527" cy="200055"/>
          </a:xfrm>
          <a:prstGeom prst="rect">
            <a:avLst/>
          </a:prstGeom>
          <a:noFill/>
        </p:spPr>
        <p:txBody>
          <a:bodyPr wrap="square" lIns="0" rIns="0" bIns="0" rtlCol="0">
            <a:spAutoFit/>
          </a:bodyPr>
          <a:lstStyle/>
          <a:p>
            <a:pPr algn="l"/>
            <a:r>
              <a:rPr lang="en-US" sz="1000">
                <a:cs typeface="Georgia"/>
              </a:rPr>
              <a:t>* Avg miles and Avg durations are calculated using simulations</a:t>
            </a:r>
          </a:p>
        </p:txBody>
      </p:sp>
    </p:spTree>
    <p:extLst>
      <p:ext uri="{BB962C8B-B14F-4D97-AF65-F5344CB8AC3E}">
        <p14:creationId xmlns:p14="http://schemas.microsoft.com/office/powerpoint/2010/main" val="430257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A7E1D4-31B4-894A-BD06-C7F3027704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ilot proposal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96FCD64-0AC4-49B2-8529-B44D3BF675B0}"/>
              </a:ext>
            </a:extLst>
          </p:cNvPr>
          <p:cNvSpPr/>
          <p:nvPr/>
        </p:nvSpPr>
        <p:spPr>
          <a:xfrm>
            <a:off x="1486863" y="1510892"/>
            <a:ext cx="9559636" cy="383621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en-US" sz="1600" b="1">
                <a:solidFill>
                  <a:schemeClr val="accent1"/>
                </a:solidFill>
              </a:rPr>
              <a:t>LOCATION</a:t>
            </a:r>
          </a:p>
          <a:p>
            <a:pPr algn="just"/>
            <a:endParaRPr lang="en-US" sz="1600">
              <a:solidFill>
                <a:schemeClr val="accent1"/>
              </a:solidFill>
            </a:endParaRPr>
          </a:p>
          <a:p>
            <a:pPr algn="just"/>
            <a:r>
              <a:rPr lang="en-US" sz="1600">
                <a:solidFill>
                  <a:schemeClr val="tx1"/>
                </a:solidFill>
              </a:rPr>
              <a:t>Pick a market with low completes per day and huge coverage. Example: </a:t>
            </a:r>
            <a:r>
              <a:rPr lang="en-US" sz="1600" dirty="0" err="1">
                <a:solidFill>
                  <a:schemeClr val="tx1"/>
                </a:solidFill>
              </a:rPr>
              <a:t>Cleaveland</a:t>
            </a:r>
            <a:endParaRPr lang="en-US" sz="1600">
              <a:solidFill>
                <a:schemeClr val="tx1"/>
              </a:solidFill>
            </a:endParaRPr>
          </a:p>
          <a:p>
            <a:pPr algn="just"/>
            <a:endParaRPr lang="en-US" sz="1600">
              <a:solidFill>
                <a:schemeClr val="tx1"/>
              </a:solidFill>
            </a:endParaRPr>
          </a:p>
          <a:p>
            <a:pPr algn="just"/>
            <a:endParaRPr lang="en-US" sz="1600">
              <a:solidFill>
                <a:schemeClr val="tx1"/>
              </a:solidFill>
            </a:endParaRPr>
          </a:p>
          <a:p>
            <a:pPr algn="just"/>
            <a:r>
              <a:rPr lang="en-US" sz="1600" b="1">
                <a:solidFill>
                  <a:schemeClr val="accent1"/>
                </a:solidFill>
              </a:rPr>
              <a:t>TEST</a:t>
            </a:r>
          </a:p>
          <a:p>
            <a:pPr algn="just"/>
            <a:endParaRPr lang="en-US" sz="1600">
              <a:solidFill>
                <a:schemeClr val="accent1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/>
                </a:solidFill>
              </a:rPr>
              <a:t>Run jobs 5 days/week for 127 zip codes that generate 80% of our demand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/>
                </a:solidFill>
              </a:rPr>
              <a:t>Run jobs 1-2 days/week for the rest 112 zip codes that are outliers and generate 20% of demand</a:t>
            </a:r>
          </a:p>
          <a:p>
            <a:pPr algn="just"/>
            <a:endParaRPr lang="en-US" sz="1600" b="1">
              <a:solidFill>
                <a:schemeClr val="tx1"/>
              </a:solidFill>
            </a:endParaRPr>
          </a:p>
          <a:p>
            <a:pPr algn="just"/>
            <a:endParaRPr lang="en-US" sz="1600" b="1">
              <a:solidFill>
                <a:schemeClr val="tx1"/>
              </a:solidFill>
            </a:endParaRPr>
          </a:p>
          <a:p>
            <a:pPr algn="just"/>
            <a:r>
              <a:rPr lang="en-US" sz="1600" b="1">
                <a:solidFill>
                  <a:schemeClr val="accent1"/>
                </a:solidFill>
              </a:rPr>
              <a:t>TRACK</a:t>
            </a:r>
          </a:p>
          <a:p>
            <a:pPr algn="just"/>
            <a:endParaRPr lang="en-US" sz="1600">
              <a:solidFill>
                <a:schemeClr val="tx1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/>
                </a:solidFill>
              </a:rPr>
              <a:t>Monitor completes per day per tech and increase capacity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/>
                </a:solidFill>
              </a:rPr>
              <a:t>Monitor avg time spent driving per tech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/>
                </a:solidFill>
              </a:rPr>
              <a:t>Monitor number of unassigned jobs</a:t>
            </a:r>
          </a:p>
        </p:txBody>
      </p:sp>
    </p:spTree>
    <p:extLst>
      <p:ext uri="{BB962C8B-B14F-4D97-AF65-F5344CB8AC3E}">
        <p14:creationId xmlns:p14="http://schemas.microsoft.com/office/powerpoint/2010/main" val="4171776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F2BCD37-D8AA-3A48-B282-C03CB9435A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0146" y="2469506"/>
            <a:ext cx="11951854" cy="2690351"/>
          </a:xfrm>
        </p:spPr>
        <p:txBody>
          <a:bodyPr/>
          <a:lstStyle/>
          <a:p>
            <a:pPr algn="ctr"/>
            <a:r>
              <a:rPr lang="en-US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379312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A7E1D4-31B4-894A-BD06-C7F3027704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duce market coverage – Concer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2BD7659-694C-44E2-B15C-6CD3BC962D68}"/>
              </a:ext>
            </a:extLst>
          </p:cNvPr>
          <p:cNvSpPr/>
          <p:nvPr/>
        </p:nvSpPr>
        <p:spPr>
          <a:xfrm>
            <a:off x="868640" y="1389853"/>
            <a:ext cx="10321874" cy="839542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srgbClr val="000000"/>
                </a:solidFill>
              </a:rPr>
              <a:t>Do we have enough volume in T-zone to work with reduced coverage?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>
              <a:solidFill>
                <a:srgbClr val="000000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srgbClr val="000000"/>
                </a:solidFill>
              </a:rPr>
              <a:t>Will the hypotheses “80% demand come from highly populated areas in market” hold over time? </a:t>
            </a:r>
          </a:p>
        </p:txBody>
      </p:sp>
    </p:spTree>
    <p:extLst>
      <p:ext uri="{BB962C8B-B14F-4D97-AF65-F5344CB8AC3E}">
        <p14:creationId xmlns:p14="http://schemas.microsoft.com/office/powerpoint/2010/main" val="1847194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EBBCECE-F466-4A06-8E61-A097DE5671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811" y="440483"/>
            <a:ext cx="10969127" cy="854818"/>
          </a:xfrm>
        </p:spPr>
        <p:txBody>
          <a:bodyPr>
            <a:normAutofit/>
          </a:bodyPr>
          <a:lstStyle/>
          <a:p>
            <a:r>
              <a:rPr lang="en-US">
                <a:latin typeface="Calibri Light"/>
                <a:cs typeface="Calibri Light"/>
              </a:rPr>
              <a:t>Demand/Capacity Forecasting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3A9ECF-1448-4DDE-829B-D0D7C87154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610600" y="6417518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3ACAB3-CA36-4966-8A1D-076772D39D8D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DBD4D729-F87A-442D-859C-4A152AAF2D77}"/>
              </a:ext>
            </a:extLst>
          </p:cNvPr>
          <p:cNvSpPr/>
          <p:nvPr/>
        </p:nvSpPr>
        <p:spPr>
          <a:xfrm>
            <a:off x="970959" y="1189356"/>
            <a:ext cx="10022007" cy="10118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i="1">
                <a:solidFill>
                  <a:srgbClr val="000000"/>
                </a:solidFill>
                <a:latin typeface="Calibri" panose="020F0502020204030204"/>
                <a:cs typeface="Calibri" panose="020F0502020204030204"/>
              </a:rPr>
              <a:t>Establish data driven approach to identify the demand for the different markets. Setup the demand forecasting to reconfigure capacity (increase/decrease based on change in demand).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F719935-773B-4F37-8E71-0761FDFAB0F9}"/>
              </a:ext>
            </a:extLst>
          </p:cNvPr>
          <p:cNvSpPr/>
          <p:nvPr/>
        </p:nvSpPr>
        <p:spPr>
          <a:xfrm>
            <a:off x="2538781" y="2411218"/>
            <a:ext cx="8068258" cy="2108532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Objectiv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>
                <a:solidFill>
                  <a:prstClr val="black"/>
                </a:solidFill>
                <a:latin typeface="Calibri" panose="020F0502020204030204" pitchFamily="34" charset="0"/>
                <a:cs typeface="Arial"/>
              </a:rPr>
              <a:t>Estimate job volumes based on historical number of jobs</a:t>
            </a:r>
          </a:p>
          <a:p>
            <a:pPr marL="803275" lvl="0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400">
                <a:solidFill>
                  <a:srgbClr val="000000"/>
                </a:solidFill>
              </a:rPr>
              <a:t>Incorporate census and demographics data for each market</a:t>
            </a:r>
          </a:p>
          <a:p>
            <a:pPr marL="803275" lvl="0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400">
                <a:solidFill>
                  <a:srgbClr val="000000"/>
                </a:solidFill>
              </a:rPr>
              <a:t>Factor in advertisement and lead gen effort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679B82F-EC2B-4448-9236-EE3606475E4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2601" y="4519750"/>
            <a:ext cx="460506" cy="48891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D2CA1D9-15FA-4900-BE08-C6F620F5D61A}"/>
              </a:ext>
            </a:extLst>
          </p:cNvPr>
          <p:cNvSpPr/>
          <p:nvPr/>
        </p:nvSpPr>
        <p:spPr>
          <a:xfrm>
            <a:off x="2538781" y="4413805"/>
            <a:ext cx="8454185" cy="1502254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Key Resul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Create mechanism to find optimal demand that can work across different market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 pitchFamily="34" charset="0"/>
                <a:cs typeface="Arial"/>
              </a:rPr>
              <a:t>Use demand to adjust capacity and to influence marketing campaign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CC508F4-9977-44FB-B0B8-E995B1264F9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9931" y="2561630"/>
            <a:ext cx="585846" cy="585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176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31AB53-BE84-422E-B474-01EC4C0638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 wrap="square" anchor="t">
            <a:normAutofit/>
          </a:bodyPr>
          <a:lstStyle/>
          <a:p>
            <a:r>
              <a:rPr lang="en-US"/>
              <a:t>Capacity based Marketing campaign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F09AFB-FBF4-4225-A6B2-1F660FA5E0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2825" y="6477425"/>
            <a:ext cx="519112" cy="180000"/>
          </a:xfrm>
        </p:spPr>
        <p:txBody>
          <a:bodyPr wrap="square" anchor="ctr">
            <a:normAutofit/>
          </a:bodyPr>
          <a:lstStyle/>
          <a:p>
            <a:pPr marL="0" lvl="0" indent="0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</a:pPr>
            <a:fld id="{00000000-1234-1234-1234-123412341234}" type="slidenum">
              <a:rPr lang="en-US" smtClean="0"/>
              <a:pPr marL="0" lvl="0" indent="0" rtl="0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None/>
              </a:pPr>
              <a:t>16</a:t>
            </a:fld>
            <a:endParaRPr lang="en-US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43D5E6B0-59A3-48B2-9336-D65EEFE220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8775516"/>
              </p:ext>
            </p:extLst>
          </p:nvPr>
        </p:nvGraphicFramePr>
        <p:xfrm>
          <a:off x="3264840" y="1250413"/>
          <a:ext cx="8320702" cy="4754460"/>
        </p:xfrm>
        <a:graphic>
          <a:graphicData uri="http://schemas.openxmlformats.org/drawingml/2006/table">
            <a:tbl>
              <a:tblPr/>
              <a:tblGrid>
                <a:gridCol w="947624">
                  <a:extLst>
                    <a:ext uri="{9D8B030D-6E8A-4147-A177-3AD203B41FA5}">
                      <a16:colId xmlns:a16="http://schemas.microsoft.com/office/drawing/2014/main" val="2834680200"/>
                    </a:ext>
                  </a:extLst>
                </a:gridCol>
                <a:gridCol w="880766">
                  <a:extLst>
                    <a:ext uri="{9D8B030D-6E8A-4147-A177-3AD203B41FA5}">
                      <a16:colId xmlns:a16="http://schemas.microsoft.com/office/drawing/2014/main" val="362133450"/>
                    </a:ext>
                  </a:extLst>
                </a:gridCol>
                <a:gridCol w="1049912">
                  <a:extLst>
                    <a:ext uri="{9D8B030D-6E8A-4147-A177-3AD203B41FA5}">
                      <a16:colId xmlns:a16="http://schemas.microsoft.com/office/drawing/2014/main" val="2875383510"/>
                    </a:ext>
                  </a:extLst>
                </a:gridCol>
                <a:gridCol w="1380010">
                  <a:extLst>
                    <a:ext uri="{9D8B030D-6E8A-4147-A177-3AD203B41FA5}">
                      <a16:colId xmlns:a16="http://schemas.microsoft.com/office/drawing/2014/main" val="1760417266"/>
                    </a:ext>
                  </a:extLst>
                </a:gridCol>
                <a:gridCol w="1183530">
                  <a:extLst>
                    <a:ext uri="{9D8B030D-6E8A-4147-A177-3AD203B41FA5}">
                      <a16:colId xmlns:a16="http://schemas.microsoft.com/office/drawing/2014/main" val="1148198209"/>
                    </a:ext>
                  </a:extLst>
                </a:gridCol>
                <a:gridCol w="1439430">
                  <a:extLst>
                    <a:ext uri="{9D8B030D-6E8A-4147-A177-3AD203B41FA5}">
                      <a16:colId xmlns:a16="http://schemas.microsoft.com/office/drawing/2014/main" val="1739644027"/>
                    </a:ext>
                  </a:extLst>
                </a:gridCol>
                <a:gridCol w="1439430">
                  <a:extLst>
                    <a:ext uri="{9D8B030D-6E8A-4147-A177-3AD203B41FA5}">
                      <a16:colId xmlns:a16="http://schemas.microsoft.com/office/drawing/2014/main" val="2684402882"/>
                    </a:ext>
                  </a:extLst>
                </a:gridCol>
              </a:tblGrid>
              <a:tr h="469299"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keting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Scien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2F6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B/Workforce Management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2593550"/>
                  </a:ext>
                </a:extLst>
              </a:tr>
              <a:tr h="46929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kets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ume goa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ion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ecasted demand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2F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ailable slot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d slot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maining slot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2642010"/>
                  </a:ext>
                </a:extLst>
              </a:tr>
              <a:tr h="23977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DE2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4644863"/>
                  </a:ext>
                </a:extLst>
              </a:tr>
              <a:tr h="23977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Calibri" panose="020F0502020204030204" pitchFamily="34" charset="0"/>
                        </a:rPr>
                        <a:t>L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2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3589784"/>
                  </a:ext>
                </a:extLst>
              </a:tr>
              <a:tr h="23977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Calibri" panose="020F0502020204030204" pitchFamily="34" charset="0"/>
                        </a:rPr>
                        <a:t>Riversid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2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752155"/>
                  </a:ext>
                </a:extLst>
              </a:tr>
              <a:tr h="46929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ng Beach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2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0237344"/>
                  </a:ext>
                </a:extLst>
              </a:tr>
              <a:tr h="23977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Calibri" panose="020F0502020204030204" pitchFamily="34" charset="0"/>
                        </a:rPr>
                        <a:t>San Dieg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2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1548080"/>
                  </a:ext>
                </a:extLst>
              </a:tr>
              <a:tr h="23977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Calibri" panose="020F0502020204030204" pitchFamily="34" charset="0"/>
                        </a:rPr>
                        <a:t>Housto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2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116836"/>
                  </a:ext>
                </a:extLst>
              </a:tr>
              <a:tr h="23977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Calibri" panose="020F0502020204030204" pitchFamily="34" charset="0"/>
                        </a:rPr>
                        <a:t>Dalla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2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8101305"/>
                  </a:ext>
                </a:extLst>
              </a:tr>
              <a:tr h="46929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Calibri" panose="020F0502020204030204" pitchFamily="34" charset="0"/>
                        </a:rPr>
                        <a:t>Charlesto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2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239440"/>
                  </a:ext>
                </a:extLst>
              </a:tr>
              <a:tr h="23977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Calibri" panose="020F0502020204030204" pitchFamily="34" charset="0"/>
                        </a:rPr>
                        <a:t>Nashvill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2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7988433"/>
                  </a:ext>
                </a:extLst>
              </a:tr>
              <a:tr h="23977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lumbu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2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786771"/>
                  </a:ext>
                </a:extLst>
              </a:tr>
              <a:tr h="23977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Calibri" panose="020F0502020204030204" pitchFamily="34" charset="0"/>
                        </a:rPr>
                        <a:t>Detroi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2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8449316"/>
                  </a:ext>
                </a:extLst>
              </a:tr>
              <a:tr h="23977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2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9664416"/>
                  </a:ext>
                </a:extLst>
              </a:tr>
              <a:tr h="23977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Calibri" panose="020F0502020204030204" pitchFamily="34" charset="0"/>
                        </a:rPr>
                        <a:t>Raleigh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2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3300863"/>
                  </a:ext>
                </a:extLst>
              </a:tr>
              <a:tr h="23977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lant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2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662837"/>
                  </a:ext>
                </a:extLst>
              </a:tr>
            </a:tbl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FF777384-1AC5-4C5D-8411-E342225D740A}"/>
              </a:ext>
            </a:extLst>
          </p:cNvPr>
          <p:cNvSpPr/>
          <p:nvPr/>
        </p:nvSpPr>
        <p:spPr>
          <a:xfrm>
            <a:off x="282804" y="2426075"/>
            <a:ext cx="2516957" cy="3098032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Opportunity to increase Volume goals in</a:t>
            </a:r>
            <a:r>
              <a:rPr kumimoji="0" lang="en-US" sz="14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1" kern="0">
              <a:solidFill>
                <a:srgbClr val="000000"/>
              </a:solidFill>
              <a:latin typeface="Calibri" panose="020F0502020204030204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LA, Riverside, San Diego, Houston, Dallas, Charleston, Nashville, Detroit and Raleig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kern="0">
              <a:solidFill>
                <a:srgbClr val="000000"/>
              </a:solidFill>
              <a:latin typeface="Calibri" panose="020F0502020204030204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kern="0">
              <a:solidFill>
                <a:srgbClr val="000000"/>
              </a:solidFill>
              <a:latin typeface="Calibri" panose="020F0502020204030204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kern="0">
              <a:solidFill>
                <a:srgbClr val="000000"/>
              </a:solidFill>
              <a:latin typeface="Calibri" panose="020F0502020204030204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>
                <a:solidFill>
                  <a:srgbClr val="000000"/>
                </a:solidFill>
                <a:latin typeface="Calibri" panose="020F0502020204030204"/>
                <a:cs typeface="Arial"/>
              </a:rPr>
              <a:t>Volume goals for Long Beach, Columbus, OKC and Atlanta are set up appropriately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kern="0">
              <a:solidFill>
                <a:srgbClr val="000000"/>
              </a:solidFill>
              <a:latin typeface="Calibri" panose="020F0502020204030204"/>
              <a:cs typeface="Arial"/>
            </a:endParaRPr>
          </a:p>
        </p:txBody>
      </p:sp>
      <p:sp>
        <p:nvSpPr>
          <p:cNvPr id="14" name="Left Brace 13">
            <a:extLst>
              <a:ext uri="{FF2B5EF4-FFF2-40B4-BE49-F238E27FC236}">
                <a16:creationId xmlns:a16="http://schemas.microsoft.com/office/drawing/2014/main" id="{2340B6E6-BD8B-460D-A51A-0AD502B7C88F}"/>
              </a:ext>
            </a:extLst>
          </p:cNvPr>
          <p:cNvSpPr/>
          <p:nvPr/>
        </p:nvSpPr>
        <p:spPr>
          <a:xfrm>
            <a:off x="2799761" y="2426075"/>
            <a:ext cx="465079" cy="3578798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6875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1C83B9-27EB-4EEE-B09B-21CC50641B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ot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FB838E-E2F6-4E2A-9507-D46B355D8C2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0062" y="2050903"/>
            <a:ext cx="5095874" cy="2382552"/>
          </a:xfrm>
        </p:spPr>
        <p:txBody>
          <a:bodyPr/>
          <a:lstStyle/>
          <a:p>
            <a:r>
              <a:rPr lang="en-US" sz="1600"/>
              <a:t>The current goal is to reduce 10miles in drive time per tech per job. This will result in $0.585/miles = ~1.5m savings over year.</a:t>
            </a:r>
          </a:p>
          <a:p>
            <a:endParaRPr lang="en-US" sz="1600"/>
          </a:p>
          <a:p>
            <a:r>
              <a:rPr lang="en-US" sz="1600"/>
              <a:t>This will in turn increase our ability to book more appointments. Booking at least 1 additional job and collecting diagnostics fee of 99$ = ~6m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70E8FF5-0A34-4D43-AAC8-28FCDE65CD6B}"/>
              </a:ext>
            </a:extLst>
          </p:cNvPr>
          <p:cNvCxnSpPr/>
          <p:nvPr/>
        </p:nvCxnSpPr>
        <p:spPr>
          <a:xfrm>
            <a:off x="7472218" y="3260436"/>
            <a:ext cx="3288146" cy="0"/>
          </a:xfrm>
          <a:prstGeom prst="line">
            <a:avLst/>
          </a:prstGeom>
          <a:ln w="28575" cap="rnd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278ABF5-873F-4B04-92D4-729C65ADA887}"/>
              </a:ext>
            </a:extLst>
          </p:cNvPr>
          <p:cNvGrpSpPr/>
          <p:nvPr/>
        </p:nvGrpSpPr>
        <p:grpSpPr>
          <a:xfrm>
            <a:off x="7522657" y="1891106"/>
            <a:ext cx="3187267" cy="1077218"/>
            <a:chOff x="7868660" y="1842931"/>
            <a:chExt cx="3187267" cy="1077218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8C7F126-447A-4FDA-95D8-77D17844009C}"/>
                </a:ext>
              </a:extLst>
            </p:cNvPr>
            <p:cNvSpPr txBox="1"/>
            <p:nvPr/>
          </p:nvSpPr>
          <p:spPr>
            <a:xfrm>
              <a:off x="8442037" y="1842931"/>
              <a:ext cx="2613890" cy="107721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3200">
                  <a:solidFill>
                    <a:schemeClr val="bg1"/>
                  </a:solidFill>
                </a:rPr>
                <a:t>Add 1 job per tech /day</a:t>
              </a:r>
            </a:p>
          </p:txBody>
        </p:sp>
        <p:pic>
          <p:nvPicPr>
            <p:cNvPr id="48" name="Graphic 20">
              <a:extLst>
                <a:ext uri="{FF2B5EF4-FFF2-40B4-BE49-F238E27FC236}">
                  <a16:creationId xmlns:a16="http://schemas.microsoft.com/office/drawing/2014/main" id="{3620A667-1070-1047-8C1C-C0AD7C4D817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868660" y="1971796"/>
              <a:ext cx="370896" cy="819487"/>
            </a:xfrm>
            <a:prstGeom prst="rect">
              <a:avLst/>
            </a:prstGeom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3EDF4476-6D0F-43D4-82A7-B11D8A89AC99}"/>
              </a:ext>
            </a:extLst>
          </p:cNvPr>
          <p:cNvGrpSpPr/>
          <p:nvPr/>
        </p:nvGrpSpPr>
        <p:grpSpPr>
          <a:xfrm>
            <a:off x="7582693" y="3597564"/>
            <a:ext cx="3067195" cy="1077218"/>
            <a:chOff x="7868660" y="3429000"/>
            <a:chExt cx="3067195" cy="107721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9F429AE-97BB-48F1-A08F-D888BF6F9151}"/>
                </a:ext>
              </a:extLst>
            </p:cNvPr>
            <p:cNvSpPr txBox="1"/>
            <p:nvPr/>
          </p:nvSpPr>
          <p:spPr>
            <a:xfrm>
              <a:off x="8442036" y="3429000"/>
              <a:ext cx="2493819" cy="107721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3200">
                  <a:solidFill>
                    <a:schemeClr val="bg1"/>
                  </a:solidFill>
                </a:rPr>
                <a:t>Reduce $0.585 /miles</a:t>
              </a:r>
            </a:p>
          </p:txBody>
        </p:sp>
        <p:pic>
          <p:nvPicPr>
            <p:cNvPr id="49" name="Graphic 20">
              <a:extLst>
                <a:ext uri="{FF2B5EF4-FFF2-40B4-BE49-F238E27FC236}">
                  <a16:creationId xmlns:a16="http://schemas.microsoft.com/office/drawing/2014/main" id="{4A2B0865-2ECF-4135-ACD1-15D82BA988C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10800000">
              <a:off x="7868660" y="3584864"/>
              <a:ext cx="370896" cy="7366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75598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F34919-2EBC-433F-AE89-7D4011499B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twork app rollout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9AB6832-D201-4A51-8866-A305D2B4F9A2}"/>
              </a:ext>
            </a:extLst>
          </p:cNvPr>
          <p:cNvCxnSpPr/>
          <p:nvPr/>
        </p:nvCxnSpPr>
        <p:spPr>
          <a:xfrm>
            <a:off x="1692997" y="1312753"/>
            <a:ext cx="0" cy="4436198"/>
          </a:xfrm>
          <a:prstGeom prst="line">
            <a:avLst/>
          </a:prstGeom>
          <a:ln w="19050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7" name="Oval 6">
            <a:extLst>
              <a:ext uri="{FF2B5EF4-FFF2-40B4-BE49-F238E27FC236}">
                <a16:creationId xmlns:a16="http://schemas.microsoft.com/office/drawing/2014/main" id="{4831DE56-5C00-494D-B3BC-6BD57919DD5A}"/>
              </a:ext>
            </a:extLst>
          </p:cNvPr>
          <p:cNvSpPr/>
          <p:nvPr/>
        </p:nvSpPr>
        <p:spPr>
          <a:xfrm>
            <a:off x="1534562" y="1696945"/>
            <a:ext cx="316867" cy="308183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16A44D7-B7CB-423D-8547-A51D706F7AD2}"/>
              </a:ext>
            </a:extLst>
          </p:cNvPr>
          <p:cNvSpPr/>
          <p:nvPr/>
        </p:nvSpPr>
        <p:spPr>
          <a:xfrm>
            <a:off x="1534563" y="3885911"/>
            <a:ext cx="316867" cy="308183"/>
          </a:xfrm>
          <a:prstGeom prst="ellipse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E8440A0-4139-4E84-83CB-2CEF36CC1B74}"/>
              </a:ext>
            </a:extLst>
          </p:cNvPr>
          <p:cNvSpPr/>
          <p:nvPr/>
        </p:nvSpPr>
        <p:spPr>
          <a:xfrm>
            <a:off x="2100399" y="1519706"/>
            <a:ext cx="7332926" cy="2089999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Custome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Solutions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Help establish tech coverage for markets we are launching next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 pitchFamily="34" charset="0"/>
                <a:cs typeface="Arial"/>
              </a:rPr>
              <a:t>What if we start using the App’s recommendations as baseline 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 pitchFamily="34" charset="0"/>
                <a:cs typeface="Arial"/>
              </a:rPr>
              <a:t>Action: Pick markets that DS can help with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>
                <a:solidFill>
                  <a:srgbClr val="000000"/>
                </a:solidFill>
              </a:rPr>
              <a:t>Get daily feedback from Raz until the solution is delivered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D75407E-A88E-4DE9-909C-6E24A389D98B}"/>
              </a:ext>
            </a:extLst>
          </p:cNvPr>
          <p:cNvSpPr/>
          <p:nvPr/>
        </p:nvSpPr>
        <p:spPr>
          <a:xfrm>
            <a:off x="2100399" y="3608793"/>
            <a:ext cx="7332926" cy="2004356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Workforc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Management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Help with daily forecasts, evaluate against actual demand 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 pitchFamily="34" charset="0"/>
                <a:cs typeface="Arial"/>
              </a:rPr>
              <a:t>Readjust forecast to support capacity planning 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>
                <a:solidFill>
                  <a:srgbClr val="000000"/>
                </a:solidFill>
              </a:rPr>
              <a:t>Action: Add forecasts to App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B51F34-F981-430B-8FB7-20BCE003F092}"/>
              </a:ext>
            </a:extLst>
          </p:cNvPr>
          <p:cNvSpPr txBox="1"/>
          <p:nvPr/>
        </p:nvSpPr>
        <p:spPr>
          <a:xfrm>
            <a:off x="7989602" y="1574037"/>
            <a:ext cx="3512131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/>
              <a:t>Markets in pipeline for tech-zone:</a:t>
            </a:r>
          </a:p>
          <a:p>
            <a:endParaRPr lang="en-US" sz="1400"/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3F6A7573-AC64-4EBD-9823-0286FEC47984}"/>
              </a:ext>
            </a:extLst>
          </p:cNvPr>
          <p:cNvGraphicFramePr>
            <a:graphicFrameLocks noGrp="1"/>
          </p:cNvGraphicFramePr>
          <p:nvPr/>
        </p:nvGraphicFramePr>
        <p:xfrm>
          <a:off x="8311082" y="2005128"/>
          <a:ext cx="2489702" cy="35980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29211">
                  <a:extLst>
                    <a:ext uri="{9D8B030D-6E8A-4147-A177-3AD203B41FA5}">
                      <a16:colId xmlns:a16="http://schemas.microsoft.com/office/drawing/2014/main" val="2899257053"/>
                    </a:ext>
                  </a:extLst>
                </a:gridCol>
                <a:gridCol w="760491">
                  <a:extLst>
                    <a:ext uri="{9D8B030D-6E8A-4147-A177-3AD203B41FA5}">
                      <a16:colId xmlns:a16="http://schemas.microsoft.com/office/drawing/2014/main" val="366739913"/>
                    </a:ext>
                  </a:extLst>
                </a:gridCol>
              </a:tblGrid>
              <a:tr h="20582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Atlanta-OEM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6" marR="5686" marT="56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3/7/202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6" marR="5686" marT="5686" marB="0" anchor="b"/>
                </a:tc>
                <a:extLst>
                  <a:ext uri="{0D108BD9-81ED-4DB2-BD59-A6C34878D82A}">
                    <a16:rowId xmlns:a16="http://schemas.microsoft.com/office/drawing/2014/main" val="3536851481"/>
                  </a:ext>
                </a:extLst>
              </a:tr>
              <a:tr h="20582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Grand Rapid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6" marR="5686" marT="56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3/7/202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6" marR="5686" marT="5686" marB="0" anchor="b"/>
                </a:tc>
                <a:extLst>
                  <a:ext uri="{0D108BD9-81ED-4DB2-BD59-A6C34878D82A}">
                    <a16:rowId xmlns:a16="http://schemas.microsoft.com/office/drawing/2014/main" val="648710171"/>
                  </a:ext>
                </a:extLst>
              </a:tr>
              <a:tr h="30589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San Antonio-OEM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6" marR="5686" marT="56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3/7/202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6" marR="5686" marT="5686" marB="0" anchor="b"/>
                </a:tc>
                <a:extLst>
                  <a:ext uri="{0D108BD9-81ED-4DB2-BD59-A6C34878D82A}">
                    <a16:rowId xmlns:a16="http://schemas.microsoft.com/office/drawing/2014/main" val="2872481937"/>
                  </a:ext>
                </a:extLst>
              </a:tr>
              <a:tr h="20582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Raleigh-OEM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6" marR="5686" marT="56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3/7/202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6" marR="5686" marT="5686" marB="0" anchor="b"/>
                </a:tc>
                <a:extLst>
                  <a:ext uri="{0D108BD9-81ED-4DB2-BD59-A6C34878D82A}">
                    <a16:rowId xmlns:a16="http://schemas.microsoft.com/office/drawing/2014/main" val="3822175694"/>
                  </a:ext>
                </a:extLst>
              </a:tr>
              <a:tr h="1194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Seattl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6" marR="5686" marT="56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3/7/202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6" marR="5686" marT="5686" marB="0" anchor="b"/>
                </a:tc>
                <a:extLst>
                  <a:ext uri="{0D108BD9-81ED-4DB2-BD59-A6C34878D82A}">
                    <a16:rowId xmlns:a16="http://schemas.microsoft.com/office/drawing/2014/main" val="1961511362"/>
                  </a:ext>
                </a:extLst>
              </a:tr>
              <a:tr h="27955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Denver-OEM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6" marR="5686" marT="56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3/8/202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6" marR="5686" marT="5686" marB="0" anchor="b"/>
                </a:tc>
                <a:extLst>
                  <a:ext uri="{0D108BD9-81ED-4DB2-BD59-A6C34878D82A}">
                    <a16:rowId xmlns:a16="http://schemas.microsoft.com/office/drawing/2014/main" val="2898550027"/>
                  </a:ext>
                </a:extLst>
              </a:tr>
              <a:tr h="20582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Alexandria-OEM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6" marR="5686" marT="56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3/8/202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6" marR="5686" marT="5686" marB="0" anchor="b"/>
                </a:tc>
                <a:extLst>
                  <a:ext uri="{0D108BD9-81ED-4DB2-BD59-A6C34878D82A}">
                    <a16:rowId xmlns:a16="http://schemas.microsoft.com/office/drawing/2014/main" val="3580042060"/>
                  </a:ext>
                </a:extLst>
              </a:tr>
              <a:tr h="20582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Long Beach-OEM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6" marR="5686" marT="56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3/8/202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6" marR="5686" marT="5686" marB="0" anchor="b"/>
                </a:tc>
                <a:extLst>
                  <a:ext uri="{0D108BD9-81ED-4DB2-BD59-A6C34878D82A}">
                    <a16:rowId xmlns:a16="http://schemas.microsoft.com/office/drawing/2014/main" val="4126989548"/>
                  </a:ext>
                </a:extLst>
              </a:tr>
              <a:tr h="1194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Bosto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6" marR="5686" marT="56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3/11/202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6" marR="5686" marT="5686" marB="0" anchor="b"/>
                </a:tc>
                <a:extLst>
                  <a:ext uri="{0D108BD9-81ED-4DB2-BD59-A6C34878D82A}">
                    <a16:rowId xmlns:a16="http://schemas.microsoft.com/office/drawing/2014/main" val="2531738392"/>
                  </a:ext>
                </a:extLst>
              </a:tr>
              <a:tr h="20582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Riverside-OEM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6" marR="5686" marT="56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3/11/202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6" marR="5686" marT="5686" marB="0" anchor="b"/>
                </a:tc>
                <a:extLst>
                  <a:ext uri="{0D108BD9-81ED-4DB2-BD59-A6C34878D82A}">
                    <a16:rowId xmlns:a16="http://schemas.microsoft.com/office/drawing/2014/main" val="4251628199"/>
                  </a:ext>
                </a:extLst>
              </a:tr>
              <a:tr h="20582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San Diego-OEM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6" marR="5686" marT="56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3/11/202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6" marR="5686" marT="5686" marB="0" anchor="b"/>
                </a:tc>
                <a:extLst>
                  <a:ext uri="{0D108BD9-81ED-4DB2-BD59-A6C34878D82A}">
                    <a16:rowId xmlns:a16="http://schemas.microsoft.com/office/drawing/2014/main" val="3266536918"/>
                  </a:ext>
                </a:extLst>
              </a:tr>
              <a:tr h="1194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00B050"/>
                          </a:solidFill>
                          <a:effectLst/>
                        </a:rPr>
                        <a:t>Daytona</a:t>
                      </a:r>
                      <a:endParaRPr lang="en-US" sz="1200" b="0" i="0" u="none" strike="noStrike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6" marR="5686" marT="56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3/14/202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6" marR="5686" marT="5686" marB="0" anchor="b"/>
                </a:tc>
                <a:extLst>
                  <a:ext uri="{0D108BD9-81ED-4DB2-BD59-A6C34878D82A}">
                    <a16:rowId xmlns:a16="http://schemas.microsoft.com/office/drawing/2014/main" val="1946360575"/>
                  </a:ext>
                </a:extLst>
              </a:tr>
              <a:tr h="1194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00B050"/>
                          </a:solidFill>
                          <a:effectLst/>
                        </a:rPr>
                        <a:t>Fort Myers</a:t>
                      </a:r>
                      <a:endParaRPr lang="en-US" sz="1200" b="0" i="0" u="none" strike="noStrike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6" marR="5686" marT="56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3/15/202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6" marR="5686" marT="5686" marB="0" anchor="b"/>
                </a:tc>
                <a:extLst>
                  <a:ext uri="{0D108BD9-81ED-4DB2-BD59-A6C34878D82A}">
                    <a16:rowId xmlns:a16="http://schemas.microsoft.com/office/drawing/2014/main" val="3912831998"/>
                  </a:ext>
                </a:extLst>
              </a:tr>
              <a:tr h="20582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00B050"/>
                          </a:solidFill>
                          <a:effectLst/>
                        </a:rPr>
                        <a:t>Nashville-OEM</a:t>
                      </a:r>
                      <a:endParaRPr lang="en-US" sz="1200" b="0" i="0" u="none" strike="noStrike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6" marR="5686" marT="56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3/16/202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6" marR="5686" marT="5686" marB="0" anchor="b"/>
                </a:tc>
                <a:extLst>
                  <a:ext uri="{0D108BD9-81ED-4DB2-BD59-A6C34878D82A}">
                    <a16:rowId xmlns:a16="http://schemas.microsoft.com/office/drawing/2014/main" val="1369021129"/>
                  </a:ext>
                </a:extLst>
              </a:tr>
              <a:tr h="30589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tx1"/>
                          </a:solidFill>
                          <a:effectLst/>
                        </a:rPr>
                        <a:t>Des Moines-OEM</a:t>
                      </a:r>
                      <a:endParaRPr lang="en-US" sz="12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6" marR="5686" marT="56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3/17/202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6" marR="5686" marT="5686" marB="0" anchor="b"/>
                </a:tc>
                <a:extLst>
                  <a:ext uri="{0D108BD9-81ED-4DB2-BD59-A6C34878D82A}">
                    <a16:rowId xmlns:a16="http://schemas.microsoft.com/office/drawing/2014/main" val="961631103"/>
                  </a:ext>
                </a:extLst>
              </a:tr>
              <a:tr h="30589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00B050"/>
                          </a:solidFill>
                          <a:effectLst/>
                        </a:rPr>
                        <a:t>Los Angeles-OEM</a:t>
                      </a:r>
                      <a:endParaRPr lang="en-US" sz="1200" b="0" i="0" u="none" strike="noStrike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6" marR="5686" marT="56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3/17/2022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6" marR="5686" marT="5686" marB="0" anchor="b"/>
                </a:tc>
                <a:extLst>
                  <a:ext uri="{0D108BD9-81ED-4DB2-BD59-A6C34878D82A}">
                    <a16:rowId xmlns:a16="http://schemas.microsoft.com/office/drawing/2014/main" val="27477175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6172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DE6CBD-2350-4048-A542-6B695A0D54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y to optimize network?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0175FA8-815D-439E-8B1A-63B8D6B5D33F}"/>
              </a:ext>
            </a:extLst>
          </p:cNvPr>
          <p:cNvCxnSpPr/>
          <p:nvPr/>
        </p:nvCxnSpPr>
        <p:spPr>
          <a:xfrm>
            <a:off x="1034472" y="2632364"/>
            <a:ext cx="2955637" cy="0"/>
          </a:xfrm>
          <a:prstGeom prst="line">
            <a:avLst/>
          </a:prstGeom>
          <a:ln w="19050" cap="rnd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C4CD011-B7B7-4920-AA73-AFED9E7E5B18}"/>
              </a:ext>
            </a:extLst>
          </p:cNvPr>
          <p:cNvCxnSpPr/>
          <p:nvPr/>
        </p:nvCxnSpPr>
        <p:spPr>
          <a:xfrm>
            <a:off x="4618181" y="2632364"/>
            <a:ext cx="2955637" cy="0"/>
          </a:xfrm>
          <a:prstGeom prst="line">
            <a:avLst/>
          </a:prstGeom>
          <a:ln w="19050" cap="rnd">
            <a:solidFill>
              <a:schemeClr val="accent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25AAAAE-EE15-400B-BCB7-ED4C6920752C}"/>
              </a:ext>
            </a:extLst>
          </p:cNvPr>
          <p:cNvCxnSpPr/>
          <p:nvPr/>
        </p:nvCxnSpPr>
        <p:spPr>
          <a:xfrm>
            <a:off x="8201890" y="2632364"/>
            <a:ext cx="2955637" cy="0"/>
          </a:xfrm>
          <a:prstGeom prst="line">
            <a:avLst/>
          </a:prstGeom>
          <a:ln w="19050" cap="rnd">
            <a:solidFill>
              <a:schemeClr val="accent3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F196CBFC-B4E2-49BE-83DB-47ED19106913}"/>
              </a:ext>
            </a:extLst>
          </p:cNvPr>
          <p:cNvSpPr txBox="1"/>
          <p:nvPr/>
        </p:nvSpPr>
        <p:spPr>
          <a:xfrm>
            <a:off x="1034471" y="2010884"/>
            <a:ext cx="2955637" cy="538609"/>
          </a:xfrm>
          <a:prstGeom prst="rect">
            <a:avLst/>
          </a:prstGeom>
          <a:noFill/>
        </p:spPr>
        <p:txBody>
          <a:bodyPr wrap="square" lIns="0" rIns="0" bIns="0" rtlCol="0">
            <a:spAutoFit/>
          </a:bodyPr>
          <a:lstStyle/>
          <a:p>
            <a:pPr algn="l"/>
            <a:r>
              <a:rPr lang="en-US" sz="3200">
                <a:solidFill>
                  <a:schemeClr val="bg2"/>
                </a:solidFill>
                <a:cs typeface="Georgia"/>
              </a:rPr>
              <a:t>0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6355D55-8473-4766-A614-FF7E974140F2}"/>
              </a:ext>
            </a:extLst>
          </p:cNvPr>
          <p:cNvSpPr txBox="1"/>
          <p:nvPr/>
        </p:nvSpPr>
        <p:spPr>
          <a:xfrm>
            <a:off x="4618181" y="2010883"/>
            <a:ext cx="2955637" cy="538609"/>
          </a:xfrm>
          <a:prstGeom prst="rect">
            <a:avLst/>
          </a:prstGeom>
          <a:noFill/>
        </p:spPr>
        <p:txBody>
          <a:bodyPr wrap="square" lIns="0" rIns="0" bIns="0" rtlCol="0">
            <a:spAutoFit/>
          </a:bodyPr>
          <a:lstStyle/>
          <a:p>
            <a:pPr algn="l"/>
            <a:r>
              <a:rPr lang="en-US" sz="3200">
                <a:solidFill>
                  <a:schemeClr val="bg2"/>
                </a:solidFill>
                <a:cs typeface="Georgia"/>
              </a:rPr>
              <a:t>0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7014E3E-334B-4B17-80B8-288331DDD3C2}"/>
              </a:ext>
            </a:extLst>
          </p:cNvPr>
          <p:cNvSpPr txBox="1"/>
          <p:nvPr/>
        </p:nvSpPr>
        <p:spPr>
          <a:xfrm>
            <a:off x="8201889" y="2010883"/>
            <a:ext cx="2955637" cy="538609"/>
          </a:xfrm>
          <a:prstGeom prst="rect">
            <a:avLst/>
          </a:prstGeom>
          <a:noFill/>
        </p:spPr>
        <p:txBody>
          <a:bodyPr wrap="square" lIns="0" rIns="0" bIns="0" rtlCol="0">
            <a:spAutoFit/>
          </a:bodyPr>
          <a:lstStyle/>
          <a:p>
            <a:pPr algn="l"/>
            <a:r>
              <a:rPr lang="en-US" sz="3200">
                <a:solidFill>
                  <a:schemeClr val="bg2"/>
                </a:solidFill>
                <a:cs typeface="Georgia"/>
              </a:rPr>
              <a:t>03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ED1CD93-D5A6-42E1-BD0D-B115AF31439B}"/>
              </a:ext>
            </a:extLst>
          </p:cNvPr>
          <p:cNvSpPr txBox="1"/>
          <p:nvPr/>
        </p:nvSpPr>
        <p:spPr>
          <a:xfrm>
            <a:off x="1034471" y="2902883"/>
            <a:ext cx="2955637" cy="1492716"/>
          </a:xfrm>
          <a:prstGeom prst="rect">
            <a:avLst/>
          </a:prstGeom>
          <a:noFill/>
        </p:spPr>
        <p:txBody>
          <a:bodyPr wrap="square" lIns="0" rIns="0" bIns="0" rtlCol="0">
            <a:spAutoFit/>
          </a:bodyPr>
          <a:lstStyle/>
          <a:p>
            <a:r>
              <a:rPr lang="en-US" sz="1600" b="1" err="1">
                <a:cs typeface="Georgia"/>
              </a:rPr>
              <a:t>ServiceBench</a:t>
            </a:r>
            <a:r>
              <a:rPr lang="en-US" sz="1600" b="1">
                <a:cs typeface="Georgia"/>
              </a:rPr>
              <a:t> network setup</a:t>
            </a:r>
          </a:p>
          <a:p>
            <a:endParaRPr lang="en-US" b="1">
              <a:cs typeface="Georgia"/>
            </a:endParaRPr>
          </a:p>
          <a:p>
            <a:r>
              <a:rPr lang="en-US" sz="1400">
                <a:solidFill>
                  <a:schemeClr val="bg1">
                    <a:lumMod val="50000"/>
                  </a:schemeClr>
                </a:solidFill>
                <a:cs typeface="Georgia"/>
              </a:rPr>
              <a:t>Managing </a:t>
            </a:r>
            <a:r>
              <a:rPr lang="en-US" sz="1400" err="1">
                <a:solidFill>
                  <a:schemeClr val="bg1">
                    <a:lumMod val="50000"/>
                  </a:schemeClr>
                </a:solidFill>
                <a:cs typeface="Georgia"/>
              </a:rPr>
              <a:t>ServiceBench</a:t>
            </a:r>
            <a:r>
              <a:rPr lang="en-US" sz="1400">
                <a:solidFill>
                  <a:schemeClr val="bg1">
                    <a:lumMod val="50000"/>
                  </a:schemeClr>
                </a:solidFill>
                <a:cs typeface="Georgia"/>
              </a:rPr>
              <a:t> network setup is difficult, error prone, and lacks transparency</a:t>
            </a:r>
          </a:p>
          <a:p>
            <a:endParaRPr lang="en-US">
              <a:cs typeface="Georgia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819172B-6419-432A-8DFC-1AE2FD880826}"/>
              </a:ext>
            </a:extLst>
          </p:cNvPr>
          <p:cNvSpPr txBox="1"/>
          <p:nvPr/>
        </p:nvSpPr>
        <p:spPr>
          <a:xfrm>
            <a:off x="4618181" y="2902883"/>
            <a:ext cx="2955637" cy="1184940"/>
          </a:xfrm>
          <a:prstGeom prst="rect">
            <a:avLst/>
          </a:prstGeom>
          <a:noFill/>
        </p:spPr>
        <p:txBody>
          <a:bodyPr wrap="square" lIns="0" rIns="0" bIns="0" rtlCol="0">
            <a:spAutoFit/>
          </a:bodyPr>
          <a:lstStyle/>
          <a:p>
            <a:r>
              <a:rPr lang="en-US" sz="1600" b="1"/>
              <a:t>Misaligned network setup</a:t>
            </a:r>
          </a:p>
          <a:p>
            <a:endParaRPr lang="en-US" sz="1600" b="1"/>
          </a:p>
          <a:p>
            <a:r>
              <a:rPr lang="en-US" sz="1400">
                <a:solidFill>
                  <a:schemeClr val="bg1">
                    <a:lumMod val="50000"/>
                  </a:schemeClr>
                </a:solidFill>
              </a:rPr>
              <a:t>Misconfigurations increase CAC and directly impact how many customers we can ser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0D6566B-CCB3-498F-80C0-74F702B95FB6}"/>
              </a:ext>
            </a:extLst>
          </p:cNvPr>
          <p:cNvSpPr txBox="1"/>
          <p:nvPr/>
        </p:nvSpPr>
        <p:spPr>
          <a:xfrm>
            <a:off x="8201889" y="2902883"/>
            <a:ext cx="2955637" cy="1184940"/>
          </a:xfrm>
          <a:prstGeom prst="rect">
            <a:avLst/>
          </a:prstGeom>
          <a:noFill/>
        </p:spPr>
        <p:txBody>
          <a:bodyPr wrap="square" lIns="0" rIns="0" bIns="0" rtlCol="0">
            <a:spAutoFit/>
          </a:bodyPr>
          <a:lstStyle/>
          <a:p>
            <a:r>
              <a:rPr lang="en-US" sz="1600" b="1"/>
              <a:t>Optimization</a:t>
            </a:r>
          </a:p>
          <a:p>
            <a:endParaRPr lang="en-US" sz="1600" b="1"/>
          </a:p>
          <a:p>
            <a:r>
              <a:rPr lang="en-US" sz="1400">
                <a:solidFill>
                  <a:schemeClr val="bg1">
                    <a:lumMod val="50000"/>
                  </a:schemeClr>
                </a:solidFill>
              </a:rPr>
              <a:t>By optimizing geo-coverage, capacity, demand, we can reduce CAC and improve our overall efficiency</a:t>
            </a:r>
          </a:p>
        </p:txBody>
      </p:sp>
    </p:spTree>
    <p:extLst>
      <p:ext uri="{BB962C8B-B14F-4D97-AF65-F5344CB8AC3E}">
        <p14:creationId xmlns:p14="http://schemas.microsoft.com/office/powerpoint/2010/main" val="3164256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1C83B9-27EB-4EEE-B09B-21CC50641B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twork Optimization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B3EFD14-2C0C-4383-A9ED-5B29FBB86190}"/>
              </a:ext>
            </a:extLst>
          </p:cNvPr>
          <p:cNvGrpSpPr/>
          <p:nvPr/>
        </p:nvGrpSpPr>
        <p:grpSpPr>
          <a:xfrm>
            <a:off x="1273950" y="1668544"/>
            <a:ext cx="10094200" cy="2734071"/>
            <a:chOff x="1764144" y="1640264"/>
            <a:chExt cx="10094200" cy="2734071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7386B805-6981-48E6-8C24-D88C433EC13B}"/>
                </a:ext>
              </a:extLst>
            </p:cNvPr>
            <p:cNvSpPr/>
            <p:nvPr/>
          </p:nvSpPr>
          <p:spPr>
            <a:xfrm>
              <a:off x="1764144" y="2052782"/>
              <a:ext cx="8636001" cy="2262635"/>
            </a:xfrm>
            <a:prstGeom prst="roundRect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461963"/>
              <a:endParaRPr lang="en-US" sz="1400">
                <a:solidFill>
                  <a:schemeClr val="tx1"/>
                </a:solidFill>
              </a:endParaRPr>
            </a:p>
            <a:p>
              <a:pPr marL="461963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8" name="Flowchart: Terminator 7">
              <a:extLst>
                <a:ext uri="{FF2B5EF4-FFF2-40B4-BE49-F238E27FC236}">
                  <a16:creationId xmlns:a16="http://schemas.microsoft.com/office/drawing/2014/main" id="{387B29EC-4C77-432F-A6BA-69EE88BD087A}"/>
                </a:ext>
              </a:extLst>
            </p:cNvPr>
            <p:cNvSpPr/>
            <p:nvPr/>
          </p:nvSpPr>
          <p:spPr>
            <a:xfrm>
              <a:off x="2174757" y="1707029"/>
              <a:ext cx="1633671" cy="691506"/>
            </a:xfrm>
            <a:custGeom>
              <a:avLst/>
              <a:gdLst>
                <a:gd name="connsiteX0" fmla="*/ 3475 w 21600"/>
                <a:gd name="connsiteY0" fmla="*/ 0 h 21600"/>
                <a:gd name="connsiteX1" fmla="*/ 18125 w 21600"/>
                <a:gd name="connsiteY1" fmla="*/ 0 h 21600"/>
                <a:gd name="connsiteX2" fmla="*/ 21600 w 21600"/>
                <a:gd name="connsiteY2" fmla="*/ 10800 h 21600"/>
                <a:gd name="connsiteX3" fmla="*/ 18125 w 21600"/>
                <a:gd name="connsiteY3" fmla="*/ 21600 h 21600"/>
                <a:gd name="connsiteX4" fmla="*/ 3475 w 21600"/>
                <a:gd name="connsiteY4" fmla="*/ 21600 h 21600"/>
                <a:gd name="connsiteX5" fmla="*/ 0 w 21600"/>
                <a:gd name="connsiteY5" fmla="*/ 10800 h 21600"/>
                <a:gd name="connsiteX6" fmla="*/ 3475 w 21600"/>
                <a:gd name="connsiteY6" fmla="*/ 0 h 21600"/>
                <a:gd name="connsiteX0" fmla="*/ 3475 w 21600"/>
                <a:gd name="connsiteY0" fmla="*/ 3 h 21603"/>
                <a:gd name="connsiteX1" fmla="*/ 8205 w 21600"/>
                <a:gd name="connsiteY1" fmla="*/ 2212 h 21603"/>
                <a:gd name="connsiteX2" fmla="*/ 18125 w 21600"/>
                <a:gd name="connsiteY2" fmla="*/ 3 h 21603"/>
                <a:gd name="connsiteX3" fmla="*/ 21600 w 21600"/>
                <a:gd name="connsiteY3" fmla="*/ 10803 h 21603"/>
                <a:gd name="connsiteX4" fmla="*/ 18125 w 21600"/>
                <a:gd name="connsiteY4" fmla="*/ 21603 h 21603"/>
                <a:gd name="connsiteX5" fmla="*/ 3475 w 21600"/>
                <a:gd name="connsiteY5" fmla="*/ 21603 h 21603"/>
                <a:gd name="connsiteX6" fmla="*/ 0 w 21600"/>
                <a:gd name="connsiteY6" fmla="*/ 10803 h 21603"/>
                <a:gd name="connsiteX7" fmla="*/ 3475 w 21600"/>
                <a:gd name="connsiteY7" fmla="*/ 3 h 21603"/>
                <a:gd name="connsiteX0" fmla="*/ 3475 w 21600"/>
                <a:gd name="connsiteY0" fmla="*/ 6 h 21606"/>
                <a:gd name="connsiteX1" fmla="*/ 8205 w 21600"/>
                <a:gd name="connsiteY1" fmla="*/ 1156 h 21606"/>
                <a:gd name="connsiteX2" fmla="*/ 18125 w 21600"/>
                <a:gd name="connsiteY2" fmla="*/ 6 h 21606"/>
                <a:gd name="connsiteX3" fmla="*/ 21600 w 21600"/>
                <a:gd name="connsiteY3" fmla="*/ 10806 h 21606"/>
                <a:gd name="connsiteX4" fmla="*/ 18125 w 21600"/>
                <a:gd name="connsiteY4" fmla="*/ 21606 h 21606"/>
                <a:gd name="connsiteX5" fmla="*/ 3475 w 21600"/>
                <a:gd name="connsiteY5" fmla="*/ 21606 h 21606"/>
                <a:gd name="connsiteX6" fmla="*/ 0 w 21600"/>
                <a:gd name="connsiteY6" fmla="*/ 10806 h 21606"/>
                <a:gd name="connsiteX7" fmla="*/ 3475 w 21600"/>
                <a:gd name="connsiteY7" fmla="*/ 6 h 21606"/>
                <a:gd name="connsiteX0" fmla="*/ 3512 w 21637"/>
                <a:gd name="connsiteY0" fmla="*/ 6 h 21606"/>
                <a:gd name="connsiteX1" fmla="*/ 8242 w 21637"/>
                <a:gd name="connsiteY1" fmla="*/ 1156 h 21606"/>
                <a:gd name="connsiteX2" fmla="*/ 18162 w 21637"/>
                <a:gd name="connsiteY2" fmla="*/ 6 h 21606"/>
                <a:gd name="connsiteX3" fmla="*/ 21637 w 21637"/>
                <a:gd name="connsiteY3" fmla="*/ 10806 h 21606"/>
                <a:gd name="connsiteX4" fmla="*/ 18162 w 21637"/>
                <a:gd name="connsiteY4" fmla="*/ 21606 h 21606"/>
                <a:gd name="connsiteX5" fmla="*/ 5476 w 21637"/>
                <a:gd name="connsiteY5" fmla="*/ 21394 h 21606"/>
                <a:gd name="connsiteX6" fmla="*/ 37 w 21637"/>
                <a:gd name="connsiteY6" fmla="*/ 10806 h 21606"/>
                <a:gd name="connsiteX7" fmla="*/ 3512 w 21637"/>
                <a:gd name="connsiteY7" fmla="*/ 6 h 21606"/>
                <a:gd name="connsiteX0" fmla="*/ 3512 w 21638"/>
                <a:gd name="connsiteY0" fmla="*/ 6 h 21394"/>
                <a:gd name="connsiteX1" fmla="*/ 8242 w 21638"/>
                <a:gd name="connsiteY1" fmla="*/ 1156 h 21394"/>
                <a:gd name="connsiteX2" fmla="*/ 18162 w 21638"/>
                <a:gd name="connsiteY2" fmla="*/ 6 h 21394"/>
                <a:gd name="connsiteX3" fmla="*/ 21637 w 21638"/>
                <a:gd name="connsiteY3" fmla="*/ 10806 h 21394"/>
                <a:gd name="connsiteX4" fmla="*/ 18443 w 21638"/>
                <a:gd name="connsiteY4" fmla="*/ 19277 h 21394"/>
                <a:gd name="connsiteX5" fmla="*/ 5476 w 21638"/>
                <a:gd name="connsiteY5" fmla="*/ 21394 h 21394"/>
                <a:gd name="connsiteX6" fmla="*/ 37 w 21638"/>
                <a:gd name="connsiteY6" fmla="*/ 10806 h 21394"/>
                <a:gd name="connsiteX7" fmla="*/ 3512 w 21638"/>
                <a:gd name="connsiteY7" fmla="*/ 6 h 21394"/>
                <a:gd name="connsiteX0" fmla="*/ 3512 w 21638"/>
                <a:gd name="connsiteY0" fmla="*/ 6 h 21394"/>
                <a:gd name="connsiteX1" fmla="*/ 8242 w 21638"/>
                <a:gd name="connsiteY1" fmla="*/ 1156 h 21394"/>
                <a:gd name="connsiteX2" fmla="*/ 18162 w 21638"/>
                <a:gd name="connsiteY2" fmla="*/ 1065 h 21394"/>
                <a:gd name="connsiteX3" fmla="*/ 21637 w 21638"/>
                <a:gd name="connsiteY3" fmla="*/ 10806 h 21394"/>
                <a:gd name="connsiteX4" fmla="*/ 18443 w 21638"/>
                <a:gd name="connsiteY4" fmla="*/ 19277 h 21394"/>
                <a:gd name="connsiteX5" fmla="*/ 5476 w 21638"/>
                <a:gd name="connsiteY5" fmla="*/ 21394 h 21394"/>
                <a:gd name="connsiteX6" fmla="*/ 37 w 21638"/>
                <a:gd name="connsiteY6" fmla="*/ 10806 h 21394"/>
                <a:gd name="connsiteX7" fmla="*/ 3512 w 21638"/>
                <a:gd name="connsiteY7" fmla="*/ 6 h 21394"/>
                <a:gd name="connsiteX0" fmla="*/ 3514 w 21640"/>
                <a:gd name="connsiteY0" fmla="*/ 6 h 20123"/>
                <a:gd name="connsiteX1" fmla="*/ 8244 w 21640"/>
                <a:gd name="connsiteY1" fmla="*/ 1156 h 20123"/>
                <a:gd name="connsiteX2" fmla="*/ 18164 w 21640"/>
                <a:gd name="connsiteY2" fmla="*/ 1065 h 20123"/>
                <a:gd name="connsiteX3" fmla="*/ 21639 w 21640"/>
                <a:gd name="connsiteY3" fmla="*/ 10806 h 20123"/>
                <a:gd name="connsiteX4" fmla="*/ 18445 w 21640"/>
                <a:gd name="connsiteY4" fmla="*/ 19277 h 20123"/>
                <a:gd name="connsiteX5" fmla="*/ 5548 w 21640"/>
                <a:gd name="connsiteY5" fmla="*/ 20123 h 20123"/>
                <a:gd name="connsiteX6" fmla="*/ 39 w 21640"/>
                <a:gd name="connsiteY6" fmla="*/ 10806 h 20123"/>
                <a:gd name="connsiteX7" fmla="*/ 3514 w 21640"/>
                <a:gd name="connsiteY7" fmla="*/ 6 h 20123"/>
                <a:gd name="connsiteX0" fmla="*/ 3532 w 21658"/>
                <a:gd name="connsiteY0" fmla="*/ 6 h 20123"/>
                <a:gd name="connsiteX1" fmla="*/ 8262 w 21658"/>
                <a:gd name="connsiteY1" fmla="*/ 1156 h 20123"/>
                <a:gd name="connsiteX2" fmla="*/ 18182 w 21658"/>
                <a:gd name="connsiteY2" fmla="*/ 1065 h 20123"/>
                <a:gd name="connsiteX3" fmla="*/ 21657 w 21658"/>
                <a:gd name="connsiteY3" fmla="*/ 10806 h 20123"/>
                <a:gd name="connsiteX4" fmla="*/ 18463 w 21658"/>
                <a:gd name="connsiteY4" fmla="*/ 19277 h 20123"/>
                <a:gd name="connsiteX5" fmla="*/ 5566 w 21658"/>
                <a:gd name="connsiteY5" fmla="*/ 20123 h 20123"/>
                <a:gd name="connsiteX6" fmla="*/ 1670 w 21658"/>
                <a:gd name="connsiteY6" fmla="*/ 15861 h 20123"/>
                <a:gd name="connsiteX7" fmla="*/ 57 w 21658"/>
                <a:gd name="connsiteY7" fmla="*/ 10806 h 20123"/>
                <a:gd name="connsiteX8" fmla="*/ 3532 w 21658"/>
                <a:gd name="connsiteY8" fmla="*/ 6 h 20123"/>
                <a:gd name="connsiteX0" fmla="*/ 3539 w 21665"/>
                <a:gd name="connsiteY0" fmla="*/ 6 h 20123"/>
                <a:gd name="connsiteX1" fmla="*/ 8269 w 21665"/>
                <a:gd name="connsiteY1" fmla="*/ 1156 h 20123"/>
                <a:gd name="connsiteX2" fmla="*/ 18189 w 21665"/>
                <a:gd name="connsiteY2" fmla="*/ 1065 h 20123"/>
                <a:gd name="connsiteX3" fmla="*/ 21664 w 21665"/>
                <a:gd name="connsiteY3" fmla="*/ 10806 h 20123"/>
                <a:gd name="connsiteX4" fmla="*/ 18470 w 21665"/>
                <a:gd name="connsiteY4" fmla="*/ 19277 h 20123"/>
                <a:gd name="connsiteX5" fmla="*/ 5573 w 21665"/>
                <a:gd name="connsiteY5" fmla="*/ 20123 h 20123"/>
                <a:gd name="connsiteX6" fmla="*/ 1607 w 21665"/>
                <a:gd name="connsiteY6" fmla="*/ 16708 h 20123"/>
                <a:gd name="connsiteX7" fmla="*/ 64 w 21665"/>
                <a:gd name="connsiteY7" fmla="*/ 10806 h 20123"/>
                <a:gd name="connsiteX8" fmla="*/ 3539 w 21665"/>
                <a:gd name="connsiteY8" fmla="*/ 6 h 20123"/>
                <a:gd name="connsiteX0" fmla="*/ 3672 w 21798"/>
                <a:gd name="connsiteY0" fmla="*/ 6 h 20123"/>
                <a:gd name="connsiteX1" fmla="*/ 8402 w 21798"/>
                <a:gd name="connsiteY1" fmla="*/ 1156 h 20123"/>
                <a:gd name="connsiteX2" fmla="*/ 18322 w 21798"/>
                <a:gd name="connsiteY2" fmla="*/ 1065 h 20123"/>
                <a:gd name="connsiteX3" fmla="*/ 21797 w 21798"/>
                <a:gd name="connsiteY3" fmla="*/ 10806 h 20123"/>
                <a:gd name="connsiteX4" fmla="*/ 18603 w 21798"/>
                <a:gd name="connsiteY4" fmla="*/ 19277 h 20123"/>
                <a:gd name="connsiteX5" fmla="*/ 5706 w 21798"/>
                <a:gd name="connsiteY5" fmla="*/ 20123 h 20123"/>
                <a:gd name="connsiteX6" fmla="*/ 1740 w 21798"/>
                <a:gd name="connsiteY6" fmla="*/ 16708 h 20123"/>
                <a:gd name="connsiteX7" fmla="*/ 57 w 21798"/>
                <a:gd name="connsiteY7" fmla="*/ 9747 h 20123"/>
                <a:gd name="connsiteX8" fmla="*/ 3672 w 21798"/>
                <a:gd name="connsiteY8" fmla="*/ 6 h 20123"/>
                <a:gd name="connsiteX0" fmla="*/ 3672 w 21820"/>
                <a:gd name="connsiteY0" fmla="*/ 6 h 20123"/>
                <a:gd name="connsiteX1" fmla="*/ 8402 w 21820"/>
                <a:gd name="connsiteY1" fmla="*/ 1156 h 20123"/>
                <a:gd name="connsiteX2" fmla="*/ 18322 w 21820"/>
                <a:gd name="connsiteY2" fmla="*/ 1065 h 20123"/>
                <a:gd name="connsiteX3" fmla="*/ 21797 w 21820"/>
                <a:gd name="connsiteY3" fmla="*/ 10806 h 20123"/>
                <a:gd name="connsiteX4" fmla="*/ 16799 w 21820"/>
                <a:gd name="connsiteY4" fmla="*/ 18854 h 20123"/>
                <a:gd name="connsiteX5" fmla="*/ 5706 w 21820"/>
                <a:gd name="connsiteY5" fmla="*/ 20123 h 20123"/>
                <a:gd name="connsiteX6" fmla="*/ 1740 w 21820"/>
                <a:gd name="connsiteY6" fmla="*/ 16708 h 20123"/>
                <a:gd name="connsiteX7" fmla="*/ 57 w 21820"/>
                <a:gd name="connsiteY7" fmla="*/ 9747 h 20123"/>
                <a:gd name="connsiteX8" fmla="*/ 3672 w 21820"/>
                <a:gd name="connsiteY8" fmla="*/ 6 h 20123"/>
                <a:gd name="connsiteX0" fmla="*/ 3322 w 21806"/>
                <a:gd name="connsiteY0" fmla="*/ 1341 h 19083"/>
                <a:gd name="connsiteX1" fmla="*/ 8388 w 21806"/>
                <a:gd name="connsiteY1" fmla="*/ 116 h 19083"/>
                <a:gd name="connsiteX2" fmla="*/ 18308 w 21806"/>
                <a:gd name="connsiteY2" fmla="*/ 25 h 19083"/>
                <a:gd name="connsiteX3" fmla="*/ 21783 w 21806"/>
                <a:gd name="connsiteY3" fmla="*/ 9766 h 19083"/>
                <a:gd name="connsiteX4" fmla="*/ 16785 w 21806"/>
                <a:gd name="connsiteY4" fmla="*/ 17814 h 19083"/>
                <a:gd name="connsiteX5" fmla="*/ 5692 w 21806"/>
                <a:gd name="connsiteY5" fmla="*/ 19083 h 19083"/>
                <a:gd name="connsiteX6" fmla="*/ 1726 w 21806"/>
                <a:gd name="connsiteY6" fmla="*/ 15668 h 19083"/>
                <a:gd name="connsiteX7" fmla="*/ 43 w 21806"/>
                <a:gd name="connsiteY7" fmla="*/ 8707 h 19083"/>
                <a:gd name="connsiteX8" fmla="*/ 3322 w 21806"/>
                <a:gd name="connsiteY8" fmla="*/ 1341 h 19083"/>
                <a:gd name="connsiteX0" fmla="*/ 3322 w 21806"/>
                <a:gd name="connsiteY0" fmla="*/ 1321 h 19063"/>
                <a:gd name="connsiteX1" fmla="*/ 8893 w 21806"/>
                <a:gd name="connsiteY1" fmla="*/ 1823 h 19063"/>
                <a:gd name="connsiteX2" fmla="*/ 18308 w 21806"/>
                <a:gd name="connsiteY2" fmla="*/ 5 h 19063"/>
                <a:gd name="connsiteX3" fmla="*/ 21783 w 21806"/>
                <a:gd name="connsiteY3" fmla="*/ 9746 h 19063"/>
                <a:gd name="connsiteX4" fmla="*/ 16785 w 21806"/>
                <a:gd name="connsiteY4" fmla="*/ 17794 h 19063"/>
                <a:gd name="connsiteX5" fmla="*/ 5692 w 21806"/>
                <a:gd name="connsiteY5" fmla="*/ 19063 h 19063"/>
                <a:gd name="connsiteX6" fmla="*/ 1726 w 21806"/>
                <a:gd name="connsiteY6" fmla="*/ 15648 h 19063"/>
                <a:gd name="connsiteX7" fmla="*/ 43 w 21806"/>
                <a:gd name="connsiteY7" fmla="*/ 8687 h 19063"/>
                <a:gd name="connsiteX8" fmla="*/ 3322 w 21806"/>
                <a:gd name="connsiteY8" fmla="*/ 1321 h 19063"/>
                <a:gd name="connsiteX0" fmla="*/ 3322 w 21790"/>
                <a:gd name="connsiteY0" fmla="*/ 12 h 17754"/>
                <a:gd name="connsiteX1" fmla="*/ 8893 w 21790"/>
                <a:gd name="connsiteY1" fmla="*/ 514 h 17754"/>
                <a:gd name="connsiteX2" fmla="*/ 17719 w 21790"/>
                <a:gd name="connsiteY2" fmla="*/ 423 h 17754"/>
                <a:gd name="connsiteX3" fmla="*/ 21783 w 21790"/>
                <a:gd name="connsiteY3" fmla="*/ 8437 h 17754"/>
                <a:gd name="connsiteX4" fmla="*/ 16785 w 21790"/>
                <a:gd name="connsiteY4" fmla="*/ 16485 h 17754"/>
                <a:gd name="connsiteX5" fmla="*/ 5692 w 21790"/>
                <a:gd name="connsiteY5" fmla="*/ 17754 h 17754"/>
                <a:gd name="connsiteX6" fmla="*/ 1726 w 21790"/>
                <a:gd name="connsiteY6" fmla="*/ 14339 h 17754"/>
                <a:gd name="connsiteX7" fmla="*/ 43 w 21790"/>
                <a:gd name="connsiteY7" fmla="*/ 7378 h 17754"/>
                <a:gd name="connsiteX8" fmla="*/ 3322 w 21790"/>
                <a:gd name="connsiteY8" fmla="*/ 12 h 17754"/>
                <a:gd name="connsiteX0" fmla="*/ 3322 w 21623"/>
                <a:gd name="connsiteY0" fmla="*/ 12 h 17754"/>
                <a:gd name="connsiteX1" fmla="*/ 8893 w 21623"/>
                <a:gd name="connsiteY1" fmla="*/ 514 h 17754"/>
                <a:gd name="connsiteX2" fmla="*/ 17719 w 21623"/>
                <a:gd name="connsiteY2" fmla="*/ 423 h 17754"/>
                <a:gd name="connsiteX3" fmla="*/ 21615 w 21623"/>
                <a:gd name="connsiteY3" fmla="*/ 6710 h 17754"/>
                <a:gd name="connsiteX4" fmla="*/ 16785 w 21623"/>
                <a:gd name="connsiteY4" fmla="*/ 16485 h 17754"/>
                <a:gd name="connsiteX5" fmla="*/ 5692 w 21623"/>
                <a:gd name="connsiteY5" fmla="*/ 17754 h 17754"/>
                <a:gd name="connsiteX6" fmla="*/ 1726 w 21623"/>
                <a:gd name="connsiteY6" fmla="*/ 14339 h 17754"/>
                <a:gd name="connsiteX7" fmla="*/ 43 w 21623"/>
                <a:gd name="connsiteY7" fmla="*/ 7378 h 17754"/>
                <a:gd name="connsiteX8" fmla="*/ 3322 w 21623"/>
                <a:gd name="connsiteY8" fmla="*/ 12 h 17754"/>
                <a:gd name="connsiteX0" fmla="*/ 3322 w 21655"/>
                <a:gd name="connsiteY0" fmla="*/ 12 h 17754"/>
                <a:gd name="connsiteX1" fmla="*/ 8893 w 21655"/>
                <a:gd name="connsiteY1" fmla="*/ 514 h 17754"/>
                <a:gd name="connsiteX2" fmla="*/ 17719 w 21655"/>
                <a:gd name="connsiteY2" fmla="*/ 423 h 17754"/>
                <a:gd name="connsiteX3" fmla="*/ 21615 w 21655"/>
                <a:gd name="connsiteY3" fmla="*/ 6710 h 17754"/>
                <a:gd name="connsiteX4" fmla="*/ 19580 w 21655"/>
                <a:gd name="connsiteY4" fmla="*/ 13037 h 17754"/>
                <a:gd name="connsiteX5" fmla="*/ 16785 w 21655"/>
                <a:gd name="connsiteY5" fmla="*/ 16485 h 17754"/>
                <a:gd name="connsiteX6" fmla="*/ 5692 w 21655"/>
                <a:gd name="connsiteY6" fmla="*/ 17754 h 17754"/>
                <a:gd name="connsiteX7" fmla="*/ 1726 w 21655"/>
                <a:gd name="connsiteY7" fmla="*/ 14339 h 17754"/>
                <a:gd name="connsiteX8" fmla="*/ 43 w 21655"/>
                <a:gd name="connsiteY8" fmla="*/ 7378 h 17754"/>
                <a:gd name="connsiteX9" fmla="*/ 3322 w 21655"/>
                <a:gd name="connsiteY9" fmla="*/ 12 h 17754"/>
                <a:gd name="connsiteX0" fmla="*/ 3322 w 21741"/>
                <a:gd name="connsiteY0" fmla="*/ 12 h 17754"/>
                <a:gd name="connsiteX1" fmla="*/ 8893 w 21741"/>
                <a:gd name="connsiteY1" fmla="*/ 514 h 17754"/>
                <a:gd name="connsiteX2" fmla="*/ 17719 w 21741"/>
                <a:gd name="connsiteY2" fmla="*/ 423 h 17754"/>
                <a:gd name="connsiteX3" fmla="*/ 21615 w 21741"/>
                <a:gd name="connsiteY3" fmla="*/ 6710 h 17754"/>
                <a:gd name="connsiteX4" fmla="*/ 20421 w 21741"/>
                <a:gd name="connsiteY4" fmla="*/ 13037 h 17754"/>
                <a:gd name="connsiteX5" fmla="*/ 16785 w 21741"/>
                <a:gd name="connsiteY5" fmla="*/ 16485 h 17754"/>
                <a:gd name="connsiteX6" fmla="*/ 5692 w 21741"/>
                <a:gd name="connsiteY6" fmla="*/ 17754 h 17754"/>
                <a:gd name="connsiteX7" fmla="*/ 1726 w 21741"/>
                <a:gd name="connsiteY7" fmla="*/ 14339 h 17754"/>
                <a:gd name="connsiteX8" fmla="*/ 43 w 21741"/>
                <a:gd name="connsiteY8" fmla="*/ 7378 h 17754"/>
                <a:gd name="connsiteX9" fmla="*/ 3322 w 21741"/>
                <a:gd name="connsiteY9" fmla="*/ 12 h 17754"/>
                <a:gd name="connsiteX0" fmla="*/ 3322 w 21591"/>
                <a:gd name="connsiteY0" fmla="*/ 12 h 17754"/>
                <a:gd name="connsiteX1" fmla="*/ 8893 w 21591"/>
                <a:gd name="connsiteY1" fmla="*/ 514 h 17754"/>
                <a:gd name="connsiteX2" fmla="*/ 17719 w 21591"/>
                <a:gd name="connsiteY2" fmla="*/ 423 h 17754"/>
                <a:gd name="connsiteX3" fmla="*/ 21447 w 21591"/>
                <a:gd name="connsiteY3" fmla="*/ 7358 h 17754"/>
                <a:gd name="connsiteX4" fmla="*/ 20421 w 21591"/>
                <a:gd name="connsiteY4" fmla="*/ 13037 h 17754"/>
                <a:gd name="connsiteX5" fmla="*/ 16785 w 21591"/>
                <a:gd name="connsiteY5" fmla="*/ 16485 h 17754"/>
                <a:gd name="connsiteX6" fmla="*/ 5692 w 21591"/>
                <a:gd name="connsiteY6" fmla="*/ 17754 h 17754"/>
                <a:gd name="connsiteX7" fmla="*/ 1726 w 21591"/>
                <a:gd name="connsiteY7" fmla="*/ 14339 h 17754"/>
                <a:gd name="connsiteX8" fmla="*/ 43 w 21591"/>
                <a:gd name="connsiteY8" fmla="*/ 7378 h 17754"/>
                <a:gd name="connsiteX9" fmla="*/ 3322 w 21591"/>
                <a:gd name="connsiteY9" fmla="*/ 12 h 17754"/>
                <a:gd name="connsiteX0" fmla="*/ 3322 w 21608"/>
                <a:gd name="connsiteY0" fmla="*/ 12 h 17754"/>
                <a:gd name="connsiteX1" fmla="*/ 8893 w 21608"/>
                <a:gd name="connsiteY1" fmla="*/ 514 h 17754"/>
                <a:gd name="connsiteX2" fmla="*/ 17719 w 21608"/>
                <a:gd name="connsiteY2" fmla="*/ 423 h 17754"/>
                <a:gd name="connsiteX3" fmla="*/ 21447 w 21608"/>
                <a:gd name="connsiteY3" fmla="*/ 7358 h 17754"/>
                <a:gd name="connsiteX4" fmla="*/ 20505 w 21608"/>
                <a:gd name="connsiteY4" fmla="*/ 11526 h 17754"/>
                <a:gd name="connsiteX5" fmla="*/ 16785 w 21608"/>
                <a:gd name="connsiteY5" fmla="*/ 16485 h 17754"/>
                <a:gd name="connsiteX6" fmla="*/ 5692 w 21608"/>
                <a:gd name="connsiteY6" fmla="*/ 17754 h 17754"/>
                <a:gd name="connsiteX7" fmla="*/ 1726 w 21608"/>
                <a:gd name="connsiteY7" fmla="*/ 14339 h 17754"/>
                <a:gd name="connsiteX8" fmla="*/ 43 w 21608"/>
                <a:gd name="connsiteY8" fmla="*/ 7378 h 17754"/>
                <a:gd name="connsiteX9" fmla="*/ 3322 w 21608"/>
                <a:gd name="connsiteY9" fmla="*/ 12 h 17754"/>
                <a:gd name="connsiteX0" fmla="*/ 3322 w 21608"/>
                <a:gd name="connsiteY0" fmla="*/ 12 h 17754"/>
                <a:gd name="connsiteX1" fmla="*/ 8893 w 21608"/>
                <a:gd name="connsiteY1" fmla="*/ 514 h 17754"/>
                <a:gd name="connsiteX2" fmla="*/ 17719 w 21608"/>
                <a:gd name="connsiteY2" fmla="*/ 423 h 17754"/>
                <a:gd name="connsiteX3" fmla="*/ 21447 w 21608"/>
                <a:gd name="connsiteY3" fmla="*/ 7358 h 17754"/>
                <a:gd name="connsiteX4" fmla="*/ 20505 w 21608"/>
                <a:gd name="connsiteY4" fmla="*/ 11526 h 17754"/>
                <a:gd name="connsiteX5" fmla="*/ 16280 w 21608"/>
                <a:gd name="connsiteY5" fmla="*/ 15837 h 17754"/>
                <a:gd name="connsiteX6" fmla="*/ 5692 w 21608"/>
                <a:gd name="connsiteY6" fmla="*/ 17754 h 17754"/>
                <a:gd name="connsiteX7" fmla="*/ 1726 w 21608"/>
                <a:gd name="connsiteY7" fmla="*/ 14339 h 17754"/>
                <a:gd name="connsiteX8" fmla="*/ 43 w 21608"/>
                <a:gd name="connsiteY8" fmla="*/ 7378 h 17754"/>
                <a:gd name="connsiteX9" fmla="*/ 3322 w 21608"/>
                <a:gd name="connsiteY9" fmla="*/ 12 h 17754"/>
                <a:gd name="connsiteX0" fmla="*/ 3322 w 21608"/>
                <a:gd name="connsiteY0" fmla="*/ 12 h 17754"/>
                <a:gd name="connsiteX1" fmla="*/ 8893 w 21608"/>
                <a:gd name="connsiteY1" fmla="*/ 514 h 17754"/>
                <a:gd name="connsiteX2" fmla="*/ 17719 w 21608"/>
                <a:gd name="connsiteY2" fmla="*/ 423 h 17754"/>
                <a:gd name="connsiteX3" fmla="*/ 21447 w 21608"/>
                <a:gd name="connsiteY3" fmla="*/ 7358 h 17754"/>
                <a:gd name="connsiteX4" fmla="*/ 20505 w 21608"/>
                <a:gd name="connsiteY4" fmla="*/ 11526 h 17754"/>
                <a:gd name="connsiteX5" fmla="*/ 16280 w 21608"/>
                <a:gd name="connsiteY5" fmla="*/ 15837 h 17754"/>
                <a:gd name="connsiteX6" fmla="*/ 5692 w 21608"/>
                <a:gd name="connsiteY6" fmla="*/ 17754 h 17754"/>
                <a:gd name="connsiteX7" fmla="*/ 1726 w 21608"/>
                <a:gd name="connsiteY7" fmla="*/ 14339 h 17754"/>
                <a:gd name="connsiteX8" fmla="*/ 43 w 21608"/>
                <a:gd name="connsiteY8" fmla="*/ 7378 h 17754"/>
                <a:gd name="connsiteX9" fmla="*/ 3322 w 21608"/>
                <a:gd name="connsiteY9" fmla="*/ 12 h 1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608" h="17754">
                  <a:moveTo>
                    <a:pt x="3322" y="12"/>
                  </a:moveTo>
                  <a:cubicBezTo>
                    <a:pt x="5600" y="-99"/>
                    <a:pt x="6615" y="625"/>
                    <a:pt x="8893" y="514"/>
                  </a:cubicBezTo>
                  <a:cubicBezTo>
                    <a:pt x="11498" y="625"/>
                    <a:pt x="15114" y="312"/>
                    <a:pt x="17719" y="423"/>
                  </a:cubicBezTo>
                  <a:cubicBezTo>
                    <a:pt x="19638" y="423"/>
                    <a:pt x="20983" y="5507"/>
                    <a:pt x="21447" y="7358"/>
                  </a:cubicBezTo>
                  <a:cubicBezTo>
                    <a:pt x="21911" y="9209"/>
                    <a:pt x="21310" y="9897"/>
                    <a:pt x="20505" y="11526"/>
                  </a:cubicBezTo>
                  <a:cubicBezTo>
                    <a:pt x="19700" y="13155"/>
                    <a:pt x="18595" y="15051"/>
                    <a:pt x="16280" y="15837"/>
                  </a:cubicBezTo>
                  <a:cubicBezTo>
                    <a:pt x="12751" y="17556"/>
                    <a:pt x="9221" y="17115"/>
                    <a:pt x="5692" y="17754"/>
                  </a:cubicBezTo>
                  <a:cubicBezTo>
                    <a:pt x="2893" y="17185"/>
                    <a:pt x="2644" y="15892"/>
                    <a:pt x="1726" y="14339"/>
                  </a:cubicBezTo>
                  <a:cubicBezTo>
                    <a:pt x="808" y="12786"/>
                    <a:pt x="-223" y="9766"/>
                    <a:pt x="43" y="7378"/>
                  </a:cubicBezTo>
                  <a:cubicBezTo>
                    <a:pt x="309" y="4990"/>
                    <a:pt x="1403" y="12"/>
                    <a:pt x="3322" y="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GOAL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5E291DB-CC6F-4CB0-B68B-330D4670AD5B}"/>
                </a:ext>
              </a:extLst>
            </p:cNvPr>
            <p:cNvGrpSpPr/>
            <p:nvPr/>
          </p:nvGrpSpPr>
          <p:grpSpPr>
            <a:xfrm>
              <a:off x="9068586" y="1640264"/>
              <a:ext cx="2789758" cy="2734071"/>
              <a:chOff x="9152110" y="2130458"/>
              <a:chExt cx="2470563" cy="2380473"/>
            </a:xfrm>
          </p:grpSpPr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03BE4290-9B84-4335-AD1B-617C16032E16}"/>
                  </a:ext>
                </a:extLst>
              </p:cNvPr>
              <p:cNvSpPr/>
              <p:nvPr/>
            </p:nvSpPr>
            <p:spPr>
              <a:xfrm>
                <a:off x="9152110" y="2130458"/>
                <a:ext cx="2329738" cy="2262634"/>
              </a:xfrm>
              <a:custGeom>
                <a:avLst/>
                <a:gdLst>
                  <a:gd name="connsiteX0" fmla="*/ 0 w 2466109"/>
                  <a:gd name="connsiteY0" fmla="*/ 1168977 h 2337954"/>
                  <a:gd name="connsiteX1" fmla="*/ 1233055 w 2466109"/>
                  <a:gd name="connsiteY1" fmla="*/ 0 h 2337954"/>
                  <a:gd name="connsiteX2" fmla="*/ 2466110 w 2466109"/>
                  <a:gd name="connsiteY2" fmla="*/ 1168977 h 2337954"/>
                  <a:gd name="connsiteX3" fmla="*/ 1233055 w 2466109"/>
                  <a:gd name="connsiteY3" fmla="*/ 2337954 h 2337954"/>
                  <a:gd name="connsiteX4" fmla="*/ 0 w 2466109"/>
                  <a:gd name="connsiteY4" fmla="*/ 1168977 h 2337954"/>
                  <a:gd name="connsiteX0" fmla="*/ 306 w 2466416"/>
                  <a:gd name="connsiteY0" fmla="*/ 1205922 h 2374899"/>
                  <a:gd name="connsiteX1" fmla="*/ 1325725 w 2466416"/>
                  <a:gd name="connsiteY1" fmla="*/ 0 h 2374899"/>
                  <a:gd name="connsiteX2" fmla="*/ 2466416 w 2466416"/>
                  <a:gd name="connsiteY2" fmla="*/ 1205922 h 2374899"/>
                  <a:gd name="connsiteX3" fmla="*/ 1233361 w 2466416"/>
                  <a:gd name="connsiteY3" fmla="*/ 2374899 h 2374899"/>
                  <a:gd name="connsiteX4" fmla="*/ 306 w 2466416"/>
                  <a:gd name="connsiteY4" fmla="*/ 1205922 h 2374899"/>
                  <a:gd name="connsiteX0" fmla="*/ 200 w 2512492"/>
                  <a:gd name="connsiteY0" fmla="*/ 1242917 h 2374986"/>
                  <a:gd name="connsiteX1" fmla="*/ 1371801 w 2512492"/>
                  <a:gd name="connsiteY1" fmla="*/ 49 h 2374986"/>
                  <a:gd name="connsiteX2" fmla="*/ 2512492 w 2512492"/>
                  <a:gd name="connsiteY2" fmla="*/ 1205971 h 2374986"/>
                  <a:gd name="connsiteX3" fmla="*/ 1279437 w 2512492"/>
                  <a:gd name="connsiteY3" fmla="*/ 2374948 h 2374986"/>
                  <a:gd name="connsiteX4" fmla="*/ 200 w 2512492"/>
                  <a:gd name="connsiteY4" fmla="*/ 1242917 h 2374986"/>
                  <a:gd name="connsiteX0" fmla="*/ 196 w 2530960"/>
                  <a:gd name="connsiteY0" fmla="*/ 1270727 h 2375168"/>
                  <a:gd name="connsiteX1" fmla="*/ 1390269 w 2530960"/>
                  <a:gd name="connsiteY1" fmla="*/ 150 h 2375168"/>
                  <a:gd name="connsiteX2" fmla="*/ 2530960 w 2530960"/>
                  <a:gd name="connsiteY2" fmla="*/ 1206072 h 2375168"/>
                  <a:gd name="connsiteX3" fmla="*/ 1297905 w 2530960"/>
                  <a:gd name="connsiteY3" fmla="*/ 2375049 h 2375168"/>
                  <a:gd name="connsiteX4" fmla="*/ 196 w 2530960"/>
                  <a:gd name="connsiteY4" fmla="*/ 1270727 h 2375168"/>
                  <a:gd name="connsiteX0" fmla="*/ 6562 w 2537326"/>
                  <a:gd name="connsiteY0" fmla="*/ 1270727 h 2172004"/>
                  <a:gd name="connsiteX1" fmla="*/ 1396635 w 2537326"/>
                  <a:gd name="connsiteY1" fmla="*/ 150 h 2172004"/>
                  <a:gd name="connsiteX2" fmla="*/ 2537326 w 2537326"/>
                  <a:gd name="connsiteY2" fmla="*/ 1206072 h 2172004"/>
                  <a:gd name="connsiteX3" fmla="*/ 944053 w 2537326"/>
                  <a:gd name="connsiteY3" fmla="*/ 2171849 h 2172004"/>
                  <a:gd name="connsiteX4" fmla="*/ 6562 w 2537326"/>
                  <a:gd name="connsiteY4" fmla="*/ 1270727 h 2172004"/>
                  <a:gd name="connsiteX0" fmla="*/ 6331 w 2389313"/>
                  <a:gd name="connsiteY0" fmla="*/ 1270806 h 2173048"/>
                  <a:gd name="connsiteX1" fmla="*/ 1396404 w 2389313"/>
                  <a:gd name="connsiteY1" fmla="*/ 229 h 2173048"/>
                  <a:gd name="connsiteX2" fmla="*/ 2389313 w 2389313"/>
                  <a:gd name="connsiteY2" fmla="*/ 1372406 h 2173048"/>
                  <a:gd name="connsiteX3" fmla="*/ 943822 w 2389313"/>
                  <a:gd name="connsiteY3" fmla="*/ 2171928 h 2173048"/>
                  <a:gd name="connsiteX4" fmla="*/ 6331 w 2389313"/>
                  <a:gd name="connsiteY4" fmla="*/ 1270806 h 2173048"/>
                  <a:gd name="connsiteX0" fmla="*/ 6654 w 2389636"/>
                  <a:gd name="connsiteY0" fmla="*/ 1270806 h 2163864"/>
                  <a:gd name="connsiteX1" fmla="*/ 1396727 w 2389636"/>
                  <a:gd name="connsiteY1" fmla="*/ 229 h 2163864"/>
                  <a:gd name="connsiteX2" fmla="*/ 2389636 w 2389636"/>
                  <a:gd name="connsiteY2" fmla="*/ 1372406 h 2163864"/>
                  <a:gd name="connsiteX3" fmla="*/ 934908 w 2389636"/>
                  <a:gd name="connsiteY3" fmla="*/ 2162691 h 2163864"/>
                  <a:gd name="connsiteX4" fmla="*/ 6654 w 2389636"/>
                  <a:gd name="connsiteY4" fmla="*/ 1270806 h 2163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89636" h="2163864">
                    <a:moveTo>
                      <a:pt x="6654" y="1270806"/>
                    </a:moveTo>
                    <a:cubicBezTo>
                      <a:pt x="83624" y="910396"/>
                      <a:pt x="999563" y="-16704"/>
                      <a:pt x="1396727" y="229"/>
                    </a:cubicBezTo>
                    <a:cubicBezTo>
                      <a:pt x="1793891" y="17162"/>
                      <a:pt x="2389636" y="726798"/>
                      <a:pt x="2389636" y="1372406"/>
                    </a:cubicBezTo>
                    <a:cubicBezTo>
                      <a:pt x="2389636" y="2018014"/>
                      <a:pt x="1332072" y="2179624"/>
                      <a:pt x="934908" y="2162691"/>
                    </a:cubicBezTo>
                    <a:cubicBezTo>
                      <a:pt x="537744" y="2145758"/>
                      <a:pt x="-70316" y="1631216"/>
                      <a:pt x="6654" y="1270806"/>
                    </a:cubicBezTo>
                    <a:close/>
                  </a:path>
                </a:pathLst>
              </a:custGeom>
              <a:noFill/>
              <a:ln w="19050"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/>
              </a:p>
            </p:txBody>
          </p:sp>
          <p:sp>
            <p:nvSpPr>
              <p:cNvPr id="14" name="Oval 12">
                <a:extLst>
                  <a:ext uri="{FF2B5EF4-FFF2-40B4-BE49-F238E27FC236}">
                    <a16:creationId xmlns:a16="http://schemas.microsoft.com/office/drawing/2014/main" id="{BA0242C5-E449-4BB3-9A38-C5BBD787082C}"/>
                  </a:ext>
                </a:extLst>
              </p:cNvPr>
              <p:cNvSpPr/>
              <p:nvPr/>
            </p:nvSpPr>
            <p:spPr>
              <a:xfrm rot="11850658">
                <a:off x="9233037" y="2347067"/>
                <a:ext cx="2389636" cy="2163864"/>
              </a:xfrm>
              <a:custGeom>
                <a:avLst/>
                <a:gdLst>
                  <a:gd name="connsiteX0" fmla="*/ 0 w 2466109"/>
                  <a:gd name="connsiteY0" fmla="*/ 1168977 h 2337954"/>
                  <a:gd name="connsiteX1" fmla="*/ 1233055 w 2466109"/>
                  <a:gd name="connsiteY1" fmla="*/ 0 h 2337954"/>
                  <a:gd name="connsiteX2" fmla="*/ 2466110 w 2466109"/>
                  <a:gd name="connsiteY2" fmla="*/ 1168977 h 2337954"/>
                  <a:gd name="connsiteX3" fmla="*/ 1233055 w 2466109"/>
                  <a:gd name="connsiteY3" fmla="*/ 2337954 h 2337954"/>
                  <a:gd name="connsiteX4" fmla="*/ 0 w 2466109"/>
                  <a:gd name="connsiteY4" fmla="*/ 1168977 h 2337954"/>
                  <a:gd name="connsiteX0" fmla="*/ 306 w 2466416"/>
                  <a:gd name="connsiteY0" fmla="*/ 1205922 h 2374899"/>
                  <a:gd name="connsiteX1" fmla="*/ 1325725 w 2466416"/>
                  <a:gd name="connsiteY1" fmla="*/ 0 h 2374899"/>
                  <a:gd name="connsiteX2" fmla="*/ 2466416 w 2466416"/>
                  <a:gd name="connsiteY2" fmla="*/ 1205922 h 2374899"/>
                  <a:gd name="connsiteX3" fmla="*/ 1233361 w 2466416"/>
                  <a:gd name="connsiteY3" fmla="*/ 2374899 h 2374899"/>
                  <a:gd name="connsiteX4" fmla="*/ 306 w 2466416"/>
                  <a:gd name="connsiteY4" fmla="*/ 1205922 h 2374899"/>
                  <a:gd name="connsiteX0" fmla="*/ 200 w 2512492"/>
                  <a:gd name="connsiteY0" fmla="*/ 1242917 h 2374986"/>
                  <a:gd name="connsiteX1" fmla="*/ 1371801 w 2512492"/>
                  <a:gd name="connsiteY1" fmla="*/ 49 h 2374986"/>
                  <a:gd name="connsiteX2" fmla="*/ 2512492 w 2512492"/>
                  <a:gd name="connsiteY2" fmla="*/ 1205971 h 2374986"/>
                  <a:gd name="connsiteX3" fmla="*/ 1279437 w 2512492"/>
                  <a:gd name="connsiteY3" fmla="*/ 2374948 h 2374986"/>
                  <a:gd name="connsiteX4" fmla="*/ 200 w 2512492"/>
                  <a:gd name="connsiteY4" fmla="*/ 1242917 h 2374986"/>
                  <a:gd name="connsiteX0" fmla="*/ 196 w 2530960"/>
                  <a:gd name="connsiteY0" fmla="*/ 1270727 h 2375168"/>
                  <a:gd name="connsiteX1" fmla="*/ 1390269 w 2530960"/>
                  <a:gd name="connsiteY1" fmla="*/ 150 h 2375168"/>
                  <a:gd name="connsiteX2" fmla="*/ 2530960 w 2530960"/>
                  <a:gd name="connsiteY2" fmla="*/ 1206072 h 2375168"/>
                  <a:gd name="connsiteX3" fmla="*/ 1297905 w 2530960"/>
                  <a:gd name="connsiteY3" fmla="*/ 2375049 h 2375168"/>
                  <a:gd name="connsiteX4" fmla="*/ 196 w 2530960"/>
                  <a:gd name="connsiteY4" fmla="*/ 1270727 h 2375168"/>
                  <a:gd name="connsiteX0" fmla="*/ 6562 w 2537326"/>
                  <a:gd name="connsiteY0" fmla="*/ 1270727 h 2172004"/>
                  <a:gd name="connsiteX1" fmla="*/ 1396635 w 2537326"/>
                  <a:gd name="connsiteY1" fmla="*/ 150 h 2172004"/>
                  <a:gd name="connsiteX2" fmla="*/ 2537326 w 2537326"/>
                  <a:gd name="connsiteY2" fmla="*/ 1206072 h 2172004"/>
                  <a:gd name="connsiteX3" fmla="*/ 944053 w 2537326"/>
                  <a:gd name="connsiteY3" fmla="*/ 2171849 h 2172004"/>
                  <a:gd name="connsiteX4" fmla="*/ 6562 w 2537326"/>
                  <a:gd name="connsiteY4" fmla="*/ 1270727 h 2172004"/>
                  <a:gd name="connsiteX0" fmla="*/ 6331 w 2389313"/>
                  <a:gd name="connsiteY0" fmla="*/ 1270806 h 2173048"/>
                  <a:gd name="connsiteX1" fmla="*/ 1396404 w 2389313"/>
                  <a:gd name="connsiteY1" fmla="*/ 229 h 2173048"/>
                  <a:gd name="connsiteX2" fmla="*/ 2389313 w 2389313"/>
                  <a:gd name="connsiteY2" fmla="*/ 1372406 h 2173048"/>
                  <a:gd name="connsiteX3" fmla="*/ 943822 w 2389313"/>
                  <a:gd name="connsiteY3" fmla="*/ 2171928 h 2173048"/>
                  <a:gd name="connsiteX4" fmla="*/ 6331 w 2389313"/>
                  <a:gd name="connsiteY4" fmla="*/ 1270806 h 2173048"/>
                  <a:gd name="connsiteX0" fmla="*/ 6654 w 2389636"/>
                  <a:gd name="connsiteY0" fmla="*/ 1270806 h 2163864"/>
                  <a:gd name="connsiteX1" fmla="*/ 1396727 w 2389636"/>
                  <a:gd name="connsiteY1" fmla="*/ 229 h 2163864"/>
                  <a:gd name="connsiteX2" fmla="*/ 2389636 w 2389636"/>
                  <a:gd name="connsiteY2" fmla="*/ 1372406 h 2163864"/>
                  <a:gd name="connsiteX3" fmla="*/ 934908 w 2389636"/>
                  <a:gd name="connsiteY3" fmla="*/ 2162691 h 2163864"/>
                  <a:gd name="connsiteX4" fmla="*/ 6654 w 2389636"/>
                  <a:gd name="connsiteY4" fmla="*/ 1270806 h 2163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89636" h="2163864">
                    <a:moveTo>
                      <a:pt x="6654" y="1270806"/>
                    </a:moveTo>
                    <a:cubicBezTo>
                      <a:pt x="83624" y="910396"/>
                      <a:pt x="999563" y="-16704"/>
                      <a:pt x="1396727" y="229"/>
                    </a:cubicBezTo>
                    <a:cubicBezTo>
                      <a:pt x="1793891" y="17162"/>
                      <a:pt x="2389636" y="726798"/>
                      <a:pt x="2389636" y="1372406"/>
                    </a:cubicBezTo>
                    <a:cubicBezTo>
                      <a:pt x="2389636" y="2018014"/>
                      <a:pt x="1332072" y="2179624"/>
                      <a:pt x="934908" y="2162691"/>
                    </a:cubicBezTo>
                    <a:cubicBezTo>
                      <a:pt x="537744" y="2145758"/>
                      <a:pt x="-70316" y="1631216"/>
                      <a:pt x="6654" y="1270806"/>
                    </a:cubicBezTo>
                    <a:close/>
                  </a:path>
                </a:pathLst>
              </a:custGeom>
              <a:blipFill>
                <a:blip r:embed="rId3"/>
                <a:stretch>
                  <a:fillRect/>
                </a:stretch>
              </a:blip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/>
              </a:p>
            </p:txBody>
          </p:sp>
        </p:grp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55AB49AC-92CA-4D83-9242-4F2444F0EDAD}"/>
              </a:ext>
            </a:extLst>
          </p:cNvPr>
          <p:cNvSpPr txBox="1"/>
          <p:nvPr/>
        </p:nvSpPr>
        <p:spPr>
          <a:xfrm>
            <a:off x="1498862" y="2766083"/>
            <a:ext cx="707953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61963"/>
            <a:r>
              <a:rPr lang="en-US" sz="1600">
                <a:solidFill>
                  <a:schemeClr val="tx1"/>
                </a:solidFill>
              </a:rPr>
              <a:t>Optimize our network of technicians to serve more customers over the time. </a:t>
            </a:r>
          </a:p>
          <a:p>
            <a:pPr marL="461963"/>
            <a:endParaRPr lang="en-US" sz="1600"/>
          </a:p>
          <a:p>
            <a:pPr marL="461963"/>
            <a:r>
              <a:rPr lang="en-US" sz="1600">
                <a:solidFill>
                  <a:schemeClr val="tx1"/>
                </a:solidFill>
              </a:rPr>
              <a:t>Network optimization creates efficient market setups, reduces drive times, target right customers and help with capacity planning.</a:t>
            </a:r>
          </a:p>
        </p:txBody>
      </p:sp>
    </p:spTree>
    <p:extLst>
      <p:ext uri="{BB962C8B-B14F-4D97-AF65-F5344CB8AC3E}">
        <p14:creationId xmlns:p14="http://schemas.microsoft.com/office/powerpoint/2010/main" val="1396934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EBBCECE-F466-4A06-8E61-A097DE5671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>
            <a:normAutofit/>
          </a:bodyPr>
          <a:lstStyle/>
          <a:p>
            <a:r>
              <a:rPr lang="en-US">
                <a:latin typeface="Calibri Light"/>
                <a:cs typeface="Calibri Light"/>
              </a:rPr>
              <a:t>Tech Radii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3A9ECF-1448-4DDE-829B-D0D7C87154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610600" y="6417518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3ACAB3-CA36-4966-8A1D-076772D39D8D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DBD4D729-F87A-442D-859C-4A152AAF2D77}"/>
              </a:ext>
            </a:extLst>
          </p:cNvPr>
          <p:cNvSpPr/>
          <p:nvPr/>
        </p:nvSpPr>
        <p:spPr>
          <a:xfrm>
            <a:off x="970959" y="1121054"/>
            <a:ext cx="10022007" cy="108013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i="1">
                <a:solidFill>
                  <a:srgbClr val="000000"/>
                </a:solidFill>
                <a:latin typeface="Calibri" panose="020F0502020204030204"/>
                <a:cs typeface="Calibri" panose="020F0502020204030204"/>
              </a:rPr>
              <a:t>Asurion has rolled out service in 44 markets across USA for Major Appliance repairs in 2021. A team of technician covers the claim volume in each market. Can we minimize drive time for each market by minimizing drive times for each individual.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F719935-773B-4F37-8E71-0761FDFAB0F9}"/>
              </a:ext>
            </a:extLst>
          </p:cNvPr>
          <p:cNvSpPr/>
          <p:nvPr/>
        </p:nvSpPr>
        <p:spPr>
          <a:xfrm>
            <a:off x="2538782" y="2234520"/>
            <a:ext cx="7157315" cy="2199973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Objectiv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>
                <a:solidFill>
                  <a:prstClr val="black"/>
                </a:solidFill>
                <a:latin typeface="Calibri" panose="020F0502020204030204" pitchFamily="34" charset="0"/>
                <a:cs typeface="Arial"/>
              </a:rPr>
              <a:t>Minimize drive time for technicians in the market</a:t>
            </a:r>
          </a:p>
          <a:p>
            <a:pPr marL="803275" lvl="0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400">
                <a:solidFill>
                  <a:srgbClr val="000000"/>
                </a:solidFill>
              </a:rPr>
              <a:t>Divide each market into areas of coverage based on job volume</a:t>
            </a:r>
          </a:p>
          <a:p>
            <a:pPr marL="803275" lvl="0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400">
                <a:solidFill>
                  <a:srgbClr val="000000"/>
                </a:solidFill>
              </a:rPr>
              <a:t>Create market fragments by assigning techs to radii near their hom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679B82F-EC2B-4448-9236-EE3606475E4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9786" y="4316800"/>
            <a:ext cx="460506" cy="48891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D2CA1D9-15FA-4900-BE08-C6F620F5D61A}"/>
              </a:ext>
            </a:extLst>
          </p:cNvPr>
          <p:cNvSpPr/>
          <p:nvPr/>
        </p:nvSpPr>
        <p:spPr>
          <a:xfrm>
            <a:off x="2538782" y="4413805"/>
            <a:ext cx="7332926" cy="1502254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Key Resul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Reduce driving distance by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10 miles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per tech route thus reducing CAC. 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 Create mechanism to find optimal clusters for each market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>
                <a:solidFill>
                  <a:srgbClr val="000000"/>
                </a:solidFill>
              </a:rPr>
              <a:t>Create a self-service UI that can make necessary computations with changes in parameters like tech location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CC508F4-9977-44FB-B0B8-E995B1264F9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7116" y="2513127"/>
            <a:ext cx="585846" cy="585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34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F34919-2EBC-433F-AE89-7D4011499B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’s next with App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DD16617-552B-4604-B11D-9119466F564A}"/>
              </a:ext>
            </a:extLst>
          </p:cNvPr>
          <p:cNvSpPr/>
          <p:nvPr/>
        </p:nvSpPr>
        <p:spPr>
          <a:xfrm>
            <a:off x="999855" y="1315222"/>
            <a:ext cx="5752638" cy="3138256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Current feedback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lvl="1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400"/>
              <a:t>Faster output of clustering </a:t>
            </a:r>
            <a:r>
              <a:rPr lang="en-US" sz="1400">
                <a:solidFill>
                  <a:srgbClr val="00B050"/>
                </a:solidFill>
              </a:rPr>
              <a:t>(done)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>
                <a:latin typeface="Calibri" panose="020F0502020204030204" pitchFamily="34" charset="0"/>
                <a:cs typeface="Arial"/>
              </a:rPr>
              <a:t>Selection in # of clusters does not reflect in map </a:t>
            </a:r>
            <a:r>
              <a:rPr lang="en-US" sz="1400">
                <a:solidFill>
                  <a:srgbClr val="00B050"/>
                </a:solidFill>
                <a:latin typeface="Calibri" panose="020F0502020204030204" pitchFamily="34" charset="0"/>
                <a:cs typeface="Arial"/>
              </a:rPr>
              <a:t>(done)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>
                <a:latin typeface="Calibri" panose="020F0502020204030204" pitchFamily="34" charset="0"/>
                <a:cs typeface="Arial"/>
              </a:rPr>
              <a:t>Get address of cluster centroids</a:t>
            </a:r>
            <a:r>
              <a:rPr lang="en-US" sz="1400">
                <a:solidFill>
                  <a:srgbClr val="00B050"/>
                </a:solidFill>
                <a:latin typeface="Calibri" panose="020F0502020204030204" pitchFamily="34" charset="0"/>
                <a:cs typeface="Arial"/>
              </a:rPr>
              <a:t> (done)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>
                <a:latin typeface="Calibri" panose="020F0502020204030204" pitchFamily="34" charset="0"/>
                <a:cs typeface="Arial"/>
              </a:rPr>
              <a:t>Show home addresses of techs on map</a:t>
            </a:r>
            <a:r>
              <a:rPr lang="en-US" sz="1400">
                <a:solidFill>
                  <a:srgbClr val="00B050"/>
                </a:solidFill>
                <a:latin typeface="Calibri" panose="020F0502020204030204" pitchFamily="34" charset="0"/>
                <a:cs typeface="Arial"/>
              </a:rPr>
              <a:t> (done)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 pitchFamily="34" charset="0"/>
                <a:cs typeface="Arial"/>
              </a:rPr>
              <a:t>Ability to draw polygon and redefine coverage (scoping)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 pitchFamily="34" charset="0"/>
                <a:cs typeface="Arial"/>
              </a:rPr>
              <a:t>Select cluster center by putting a pin on map (scoping)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 pitchFamily="34" charset="0"/>
                <a:cs typeface="Arial"/>
              </a:rPr>
              <a:t>Adjust radii of the circle using the map visual (scoping)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90A7A872-5436-4BA4-ADF5-379B4FF880E6}"/>
              </a:ext>
            </a:extLst>
          </p:cNvPr>
          <p:cNvGrpSpPr/>
          <p:nvPr/>
        </p:nvGrpSpPr>
        <p:grpSpPr>
          <a:xfrm>
            <a:off x="7620000" y="1520617"/>
            <a:ext cx="2468880" cy="3180113"/>
            <a:chOff x="7399020" y="1639537"/>
            <a:chExt cx="2468880" cy="3180113"/>
          </a:xfrm>
        </p:grpSpPr>
        <p:sp>
          <p:nvSpPr>
            <p:cNvPr id="5" name="Flowchart: Document 4">
              <a:extLst>
                <a:ext uri="{FF2B5EF4-FFF2-40B4-BE49-F238E27FC236}">
                  <a16:creationId xmlns:a16="http://schemas.microsoft.com/office/drawing/2014/main" id="{FA6E3858-C112-4C61-9714-68F276CE4E12}"/>
                </a:ext>
              </a:extLst>
            </p:cNvPr>
            <p:cNvSpPr/>
            <p:nvPr/>
          </p:nvSpPr>
          <p:spPr>
            <a:xfrm>
              <a:off x="7399020" y="2038350"/>
              <a:ext cx="2468880" cy="2781300"/>
            </a:xfrm>
            <a:prstGeom prst="flowChartDocument">
              <a:avLst/>
            </a:prstGeom>
            <a:solidFill>
              <a:srgbClr val="FFF1C5"/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D29E1F55-8D85-4710-ACAD-373B9AC1CFC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10000" b="90000" l="10000" r="9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506591" y="1639537"/>
              <a:ext cx="650506" cy="650506"/>
            </a:xfrm>
            <a:prstGeom prst="rect">
              <a:avLst/>
            </a:prstGeom>
          </p:spPr>
        </p:pic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AE3311A8-33F7-47AA-BE6E-9F4283B8878F}"/>
                </a:ext>
              </a:extLst>
            </p:cNvPr>
            <p:cNvGrpSpPr/>
            <p:nvPr/>
          </p:nvGrpSpPr>
          <p:grpSpPr>
            <a:xfrm>
              <a:off x="7463296" y="2884350"/>
              <a:ext cx="1599690" cy="590079"/>
              <a:chOff x="8410038" y="3368108"/>
              <a:chExt cx="1599690" cy="590079"/>
            </a:xfrm>
          </p:grpSpPr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7307354D-876D-467E-AD88-65D10C089D5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ackgroundRemoval t="10000" b="90000" l="10000" r="90000"/>
                        </a14:imgEffect>
                      </a14:imgLayer>
                    </a14:imgProps>
                  </a:ext>
                </a:extLst>
              </a:blip>
              <a:srcRect l="20669" r="24343" b="14442"/>
              <a:stretch/>
            </p:blipFill>
            <p:spPr>
              <a:xfrm>
                <a:off x="8410038" y="3368108"/>
                <a:ext cx="552554" cy="590079"/>
              </a:xfrm>
              <a:prstGeom prst="rect">
                <a:avLst/>
              </a:prstGeom>
            </p:spPr>
          </p:pic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18DAE255-A9E8-4A41-80F1-BE93BFA3D93C}"/>
                  </a:ext>
                </a:extLst>
              </p:cNvPr>
              <p:cNvSpPr txBox="1"/>
              <p:nvPr/>
            </p:nvSpPr>
            <p:spPr>
              <a:xfrm>
                <a:off x="9160200" y="3536264"/>
                <a:ext cx="849528" cy="261610"/>
              </a:xfrm>
              <a:prstGeom prst="rect">
                <a:avLst/>
              </a:prstGeom>
              <a:noFill/>
            </p:spPr>
            <p:txBody>
              <a:bodyPr wrap="none" lIns="0" rIns="0" bIns="0" rtlCol="0">
                <a:spAutoFit/>
              </a:bodyPr>
              <a:lstStyle/>
              <a:p>
                <a:pPr algn="l"/>
                <a:r>
                  <a:rPr lang="en-US" sz="1400">
                    <a:cs typeface="Georgia"/>
                  </a:rPr>
                  <a:t>Simulations</a:t>
                </a: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7955D650-47CA-4D52-A119-8030D626D59C}"/>
                </a:ext>
              </a:extLst>
            </p:cNvPr>
            <p:cNvGrpSpPr/>
            <p:nvPr/>
          </p:nvGrpSpPr>
          <p:grpSpPr>
            <a:xfrm>
              <a:off x="7478146" y="2161719"/>
              <a:ext cx="2181294" cy="562283"/>
              <a:chOff x="8458294" y="2506842"/>
              <a:chExt cx="2181294" cy="562283"/>
            </a:xfrm>
          </p:grpSpPr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8816B10A-45DF-4716-89B0-1E9ED02A1B6C}"/>
                  </a:ext>
                </a:extLst>
              </p:cNvPr>
              <p:cNvSpPr txBox="1"/>
              <p:nvPr/>
            </p:nvSpPr>
            <p:spPr>
              <a:xfrm>
                <a:off x="9174443" y="2635166"/>
                <a:ext cx="1465145" cy="261610"/>
              </a:xfrm>
              <a:prstGeom prst="rect">
                <a:avLst/>
              </a:prstGeom>
              <a:noFill/>
            </p:spPr>
            <p:txBody>
              <a:bodyPr wrap="none" lIns="0" rIns="0" bIns="0" rtlCol="0">
                <a:spAutoFit/>
              </a:bodyPr>
              <a:lstStyle/>
              <a:p>
                <a:pPr algn="l"/>
                <a:r>
                  <a:rPr lang="en-US" sz="1400">
                    <a:cs typeface="Georgia"/>
                  </a:rPr>
                  <a:t>Demand forecasting</a:t>
                </a:r>
              </a:p>
            </p:txBody>
          </p:sp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1D7B1BF1-9826-4559-AE6B-2B51E070E5E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duotone>
                  <a:srgbClr val="A5AAAF">
                    <a:shade val="45000"/>
                    <a:satMod val="135000"/>
                  </a:srgb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9260" b="83338" l="9816" r="88342">
                            <a14:foregroundMark x1="72222" y1="59657" x2="72222" y2="59657"/>
                            <a14:foregroundMark x1="60185" y1="39914" x2="60185" y2="39914"/>
                            <a14:foregroundMark x1="61111" y1="53648" x2="61111" y2="53648"/>
                          </a14:backgroundRemoval>
                        </a14:imgEffect>
                      </a14:imgLayer>
                    </a14:imgProps>
                  </a:ext>
                </a:extLst>
              </a:blip>
              <a:srcRect r="1842" b="7402"/>
              <a:stretch/>
            </p:blipFill>
            <p:spPr>
              <a:xfrm>
                <a:off x="8458294" y="2506842"/>
                <a:ext cx="552554" cy="562283"/>
              </a:xfrm>
              <a:prstGeom prst="rect">
                <a:avLst/>
              </a:prstGeom>
            </p:spPr>
          </p:pic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3D7C867C-0C48-4F0D-B1F5-4BAA248CB89A}"/>
                </a:ext>
              </a:extLst>
            </p:cNvPr>
            <p:cNvGrpSpPr/>
            <p:nvPr/>
          </p:nvGrpSpPr>
          <p:grpSpPr>
            <a:xfrm>
              <a:off x="7566075" y="3631331"/>
              <a:ext cx="2050706" cy="499458"/>
              <a:chOff x="8463134" y="4312548"/>
              <a:chExt cx="2050706" cy="499458"/>
            </a:xfrm>
          </p:grpSpPr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A85DCD5B-95D4-4855-AF72-BAF3B95729DF}"/>
                  </a:ext>
                </a:extLst>
              </p:cNvPr>
              <p:cNvSpPr txBox="1"/>
              <p:nvPr/>
            </p:nvSpPr>
            <p:spPr>
              <a:xfrm>
                <a:off x="9160200" y="4455471"/>
                <a:ext cx="1353640" cy="261610"/>
              </a:xfrm>
              <a:prstGeom prst="rect">
                <a:avLst/>
              </a:prstGeom>
              <a:noFill/>
            </p:spPr>
            <p:txBody>
              <a:bodyPr wrap="none" lIns="0" rIns="0" bIns="0" rtlCol="0">
                <a:spAutoFit/>
              </a:bodyPr>
              <a:lstStyle/>
              <a:p>
                <a:pPr algn="l"/>
                <a:r>
                  <a:rPr lang="en-US" sz="1400">
                    <a:cs typeface="Georgia"/>
                  </a:rPr>
                  <a:t>% Unassigned jobs</a:t>
                </a:r>
              </a:p>
            </p:txBody>
          </p:sp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D9EEF0E4-D2EF-4497-9867-66D90811CC1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backgroundRemoval t="8889" b="89778" l="444" r="96000">
                            <a14:foregroundMark x1="7111" y1="84000" x2="7111" y2="84000"/>
                            <a14:foregroundMark x1="96000" y1="84444" x2="96000" y2="84444"/>
                            <a14:foregroundMark x1="48889" y1="9333" x2="48889" y2="9333"/>
                            <a14:foregroundMark x1="444" y1="86222" x2="444" y2="86222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8463134" y="4312548"/>
                <a:ext cx="499458" cy="499458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012506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 68">
            <a:extLst>
              <a:ext uri="{FF2B5EF4-FFF2-40B4-BE49-F238E27FC236}">
                <a16:creationId xmlns:a16="http://schemas.microsoft.com/office/drawing/2014/main" id="{3B700649-8353-4565-A97F-6034EF6571D9}"/>
              </a:ext>
            </a:extLst>
          </p:cNvPr>
          <p:cNvSpPr/>
          <p:nvPr/>
        </p:nvSpPr>
        <p:spPr>
          <a:xfrm>
            <a:off x="8560729" y="4685679"/>
            <a:ext cx="3413760" cy="151529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>
                <a:solidFill>
                  <a:schemeClr val="accent1"/>
                </a:solidFill>
              </a:rPr>
              <a:t>Truck Stock</a:t>
            </a:r>
          </a:p>
          <a:p>
            <a:endParaRPr lang="en-US" sz="140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Identify and optimize parts stocked on truc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>
              <a:solidFill>
                <a:schemeClr val="tx1"/>
              </a:solidFill>
            </a:endParaRPr>
          </a:p>
          <a:p>
            <a:r>
              <a:rPr lang="en-US" sz="1200">
                <a:solidFill>
                  <a:schemeClr val="tx1"/>
                </a:solidFill>
              </a:rPr>
              <a:t>Impact: Increase FTF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BDE66D3-C1EE-4B65-9747-77016C6CC7CB}"/>
              </a:ext>
            </a:extLst>
          </p:cNvPr>
          <p:cNvSpPr/>
          <p:nvPr/>
        </p:nvSpPr>
        <p:spPr>
          <a:xfrm>
            <a:off x="500062" y="1271452"/>
            <a:ext cx="11321143" cy="3169920"/>
          </a:xfrm>
          <a:prstGeom prst="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>SCHEDULING PROCES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3D05263-0442-41FA-90BB-B6B84C2A31A5}"/>
              </a:ext>
            </a:extLst>
          </p:cNvPr>
          <p:cNvSpPr/>
          <p:nvPr/>
        </p:nvSpPr>
        <p:spPr bwMode="auto">
          <a:xfrm>
            <a:off x="765435" y="2309111"/>
            <a:ext cx="10149840" cy="92582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7619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ercu Pro Light" panose="020B0303050601040103" pitchFamily="34" charset="0"/>
              <a:ea typeface="MS PGothic" pitchFamily="34" charset="-128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439A958-E593-4239-9CC7-77D691E04667}"/>
              </a:ext>
            </a:extLst>
          </p:cNvPr>
          <p:cNvGrpSpPr/>
          <p:nvPr/>
        </p:nvGrpSpPr>
        <p:grpSpPr>
          <a:xfrm>
            <a:off x="4264514" y="1770833"/>
            <a:ext cx="734759" cy="2010369"/>
            <a:chOff x="2309638" y="1683421"/>
            <a:chExt cx="734759" cy="2010369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5802D381-2448-4E44-B2CD-1C9178F33C6E}"/>
                </a:ext>
              </a:extLst>
            </p:cNvPr>
            <p:cNvSpPr txBox="1"/>
            <p:nvPr/>
          </p:nvSpPr>
          <p:spPr>
            <a:xfrm>
              <a:off x="2309638" y="2406368"/>
              <a:ext cx="734759" cy="12874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6095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ercu Pro" panose="020B0803050601040103" pitchFamily="34" charset="0"/>
                  <a:ea typeface="MS PGothic" pitchFamily="34" charset="-128"/>
                  <a:cs typeface="+mn-cs"/>
                </a:rPr>
                <a:t>I receive a call from Asurion within 24 hours </a:t>
              </a:r>
            </a:p>
            <a:p>
              <a:pPr marL="0" marR="0" lvl="0" indent="0" algn="ctr" defTabSz="6095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ercu Pro" panose="020B0803050601040103" pitchFamily="34" charset="0"/>
                  <a:ea typeface="MS PGothic" pitchFamily="34" charset="-128"/>
                  <a:cs typeface="+mn-cs"/>
                </a:rPr>
                <a:t>(3 call attempts + SMS)</a:t>
              </a:r>
            </a:p>
          </p:txBody>
        </p:sp>
        <p:pic>
          <p:nvPicPr>
            <p:cNvPr id="35" name="Graphic 73">
              <a:extLst>
                <a:ext uri="{FF2B5EF4-FFF2-40B4-BE49-F238E27FC236}">
                  <a16:creationId xmlns:a16="http://schemas.microsoft.com/office/drawing/2014/main" id="{248E3ACA-FDA7-4465-A242-099E0EA7F7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4080"/>
            <a:stretch/>
          </p:blipFill>
          <p:spPr>
            <a:xfrm>
              <a:off x="2529915" y="1683421"/>
              <a:ext cx="325998" cy="429158"/>
            </a:xfrm>
            <a:prstGeom prst="rect">
              <a:avLst/>
            </a:prstGeom>
          </p:spPr>
        </p:pic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2DA23476-07A1-47C6-B816-EEC83C0B968D}"/>
                </a:ext>
              </a:extLst>
            </p:cNvPr>
            <p:cNvSpPr/>
            <p:nvPr/>
          </p:nvSpPr>
          <p:spPr bwMode="auto">
            <a:xfrm>
              <a:off x="2604414" y="2179943"/>
              <a:ext cx="152400" cy="152400"/>
            </a:xfrm>
            <a:prstGeom prst="ellipse">
              <a:avLst/>
            </a:prstGeom>
            <a:solidFill>
              <a:schemeClr val="tx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7619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ercu Pro" panose="020B0503050601040103" pitchFamily="34" charset="0"/>
                <a:ea typeface="+mn-ea"/>
                <a:cs typeface="+mn-cs"/>
              </a:endParaRPr>
            </a:p>
          </p:txBody>
        </p:sp>
      </p:grpSp>
      <p:sp>
        <p:nvSpPr>
          <p:cNvPr id="6" name="Title 1">
            <a:extLst>
              <a:ext uri="{FF2B5EF4-FFF2-40B4-BE49-F238E27FC236}">
                <a16:creationId xmlns:a16="http://schemas.microsoft.com/office/drawing/2014/main" id="{DEBBCECE-F466-4A06-8E61-A097DE5671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>
            <a:normAutofit/>
          </a:bodyPr>
          <a:lstStyle/>
          <a:p>
            <a:r>
              <a:rPr lang="en-US"/>
              <a:t>Current setup and opportuniti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3A9ECF-1448-4DDE-829B-D0D7C87154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610600" y="6417518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3ACAB3-CA36-4966-8A1D-076772D39D8D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79DE2A9-D50D-418A-BA85-32408B59CD3A}"/>
              </a:ext>
            </a:extLst>
          </p:cNvPr>
          <p:cNvSpPr/>
          <p:nvPr/>
        </p:nvSpPr>
        <p:spPr bwMode="auto">
          <a:xfrm rot="16200000">
            <a:off x="659362" y="2355272"/>
            <a:ext cx="211470" cy="18288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7619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ercu Pro Light" panose="020B0303050601040103" pitchFamily="34" charset="0"/>
              <a:ea typeface="MS PGothic" pitchFamily="34" charset="-128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DFF23DC-7127-4D5F-8330-81EE9B4229CC}"/>
              </a:ext>
            </a:extLst>
          </p:cNvPr>
          <p:cNvGrpSpPr/>
          <p:nvPr/>
        </p:nvGrpSpPr>
        <p:grpSpPr>
          <a:xfrm>
            <a:off x="2595951" y="1764924"/>
            <a:ext cx="612793" cy="1192944"/>
            <a:chOff x="1734290" y="1898642"/>
            <a:chExt cx="612793" cy="1192944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E315479E-4C76-4236-AB16-13F5376CA425}"/>
                </a:ext>
              </a:extLst>
            </p:cNvPr>
            <p:cNvSpPr/>
            <p:nvPr/>
          </p:nvSpPr>
          <p:spPr bwMode="auto">
            <a:xfrm>
              <a:off x="1966891" y="2421934"/>
              <a:ext cx="152400" cy="152400"/>
            </a:xfrm>
            <a:prstGeom prst="ellipse">
              <a:avLst/>
            </a:prstGeom>
            <a:solidFill>
              <a:schemeClr val="tx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7619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ercu Pro" panose="020B0503050601040103" pitchFamily="34" charset="0"/>
                <a:ea typeface="+mn-ea"/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04FB94D-D755-4AC1-AEFE-87BDFF335BBF}"/>
                </a:ext>
              </a:extLst>
            </p:cNvPr>
            <p:cNvSpPr txBox="1"/>
            <p:nvPr/>
          </p:nvSpPr>
          <p:spPr>
            <a:xfrm>
              <a:off x="1734290" y="2662428"/>
              <a:ext cx="612793" cy="4291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6095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ercu Pro" panose="020B0803050601040103" pitchFamily="34" charset="0"/>
                  <a:ea typeface="MS PGothic" pitchFamily="34" charset="-128"/>
                  <a:cs typeface="+mn-cs"/>
                </a:rPr>
                <a:t>I call the OEM</a:t>
              </a:r>
            </a:p>
          </p:txBody>
        </p:sp>
        <p:pic>
          <p:nvPicPr>
            <p:cNvPr id="17" name="Picture 16" descr="A picture containing shape&#10;&#10;Description automatically generated">
              <a:extLst>
                <a:ext uri="{FF2B5EF4-FFF2-40B4-BE49-F238E27FC236}">
                  <a16:creationId xmlns:a16="http://schemas.microsoft.com/office/drawing/2014/main" id="{5C1ED6A7-E20B-49E5-ACF2-EEECC2A56A0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87673" y="1898642"/>
              <a:ext cx="510837" cy="510837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EF6B6DB-7F53-442F-A081-EEFAB0C21A04}"/>
              </a:ext>
            </a:extLst>
          </p:cNvPr>
          <p:cNvGrpSpPr/>
          <p:nvPr/>
        </p:nvGrpSpPr>
        <p:grpSpPr>
          <a:xfrm>
            <a:off x="1022556" y="1764924"/>
            <a:ext cx="861626" cy="1698858"/>
            <a:chOff x="522930" y="1904380"/>
            <a:chExt cx="861626" cy="1698858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A33CA261-AC0A-40E6-8ACA-C7A14F4C1902}"/>
                </a:ext>
              </a:extLst>
            </p:cNvPr>
            <p:cNvSpPr/>
            <p:nvPr/>
          </p:nvSpPr>
          <p:spPr bwMode="auto">
            <a:xfrm>
              <a:off x="877543" y="2421934"/>
              <a:ext cx="152400" cy="152400"/>
            </a:xfrm>
            <a:prstGeom prst="ellipse">
              <a:avLst/>
            </a:prstGeom>
            <a:solidFill>
              <a:schemeClr val="tx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7619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ercu Pro" panose="020B0503050601040103" pitchFamily="34" charset="0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6910D343-7415-4FE8-B0A1-63E046BE768C}"/>
                </a:ext>
              </a:extLst>
            </p:cNvPr>
            <p:cNvSpPr txBox="1"/>
            <p:nvPr/>
          </p:nvSpPr>
          <p:spPr>
            <a:xfrm>
              <a:off x="522930" y="2662427"/>
              <a:ext cx="861626" cy="9408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6095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ercu Pro" panose="020B0803050601040103" pitchFamily="34" charset="0"/>
                  <a:ea typeface="MS PGothic" pitchFamily="34" charset="-128"/>
                  <a:cs typeface="+mn-cs"/>
                </a:rPr>
                <a:t>My appliance is not working correctly</a:t>
              </a:r>
            </a:p>
            <a:p>
              <a:pPr marL="0" marR="0" lvl="0" indent="0" algn="ctr" defTabSz="6095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ercu Pro" panose="020B0803050601040103" pitchFamily="34" charset="0"/>
                <a:ea typeface="MS PGothic" pitchFamily="34" charset="-128"/>
                <a:cs typeface="+mn-cs"/>
              </a:endParaRP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C40E0B17-3BF9-49E8-BB26-6D44410B84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158"/>
            <a:stretch/>
          </p:blipFill>
          <p:spPr>
            <a:xfrm>
              <a:off x="641367" y="1904380"/>
              <a:ext cx="621631" cy="486051"/>
            </a:xfrm>
            <a:prstGeom prst="rect">
              <a:avLst/>
            </a:prstGeom>
          </p:spPr>
        </p:pic>
      </p:grpSp>
      <p:sp>
        <p:nvSpPr>
          <p:cNvPr id="24" name="Bent Arrow 209">
            <a:extLst>
              <a:ext uri="{FF2B5EF4-FFF2-40B4-BE49-F238E27FC236}">
                <a16:creationId xmlns:a16="http://schemas.microsoft.com/office/drawing/2014/main" id="{F82AC7CF-B755-4C71-A44B-B87146B9F997}"/>
              </a:ext>
            </a:extLst>
          </p:cNvPr>
          <p:cNvSpPr/>
          <p:nvPr/>
        </p:nvSpPr>
        <p:spPr bwMode="auto">
          <a:xfrm flipV="1">
            <a:off x="1377169" y="2979739"/>
            <a:ext cx="274320" cy="718617"/>
          </a:xfrm>
          <a:prstGeom prst="bentArrow">
            <a:avLst>
              <a:gd name="adj1" fmla="val 29196"/>
              <a:gd name="adj2" fmla="val 27211"/>
              <a:gd name="adj3" fmla="val 20051"/>
              <a:gd name="adj4" fmla="val 49943"/>
            </a:avLst>
          </a:prstGeom>
          <a:pattFill prst="wdUpDiag">
            <a:fgClr>
              <a:schemeClr val="bg2"/>
            </a:fgClr>
            <a:bgClr>
              <a:schemeClr val="bg1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7619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ercu Pro Light" panose="020B0303050601040103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98E73C9-80B6-4E30-9A53-51620FD28E89}"/>
              </a:ext>
            </a:extLst>
          </p:cNvPr>
          <p:cNvSpPr/>
          <p:nvPr/>
        </p:nvSpPr>
        <p:spPr bwMode="auto">
          <a:xfrm>
            <a:off x="1586446" y="3571292"/>
            <a:ext cx="3017520" cy="92582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7619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ercu Pro Light" panose="020B0303050601040103" pitchFamily="34" charset="0"/>
              <a:ea typeface="MS PGothic" pitchFamily="34" charset="-128"/>
              <a:cs typeface="+mn-cs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936A6D9-E2BD-4EF4-9661-CBE199B91C7B}"/>
              </a:ext>
            </a:extLst>
          </p:cNvPr>
          <p:cNvGrpSpPr/>
          <p:nvPr/>
        </p:nvGrpSpPr>
        <p:grpSpPr>
          <a:xfrm>
            <a:off x="3177234" y="3055650"/>
            <a:ext cx="815361" cy="1146388"/>
            <a:chOff x="5082591" y="3775167"/>
            <a:chExt cx="815361" cy="1146388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BEEBF41C-6530-4BF2-A7D2-D5BD2A02ED7E}"/>
                </a:ext>
              </a:extLst>
            </p:cNvPr>
            <p:cNvSpPr txBox="1"/>
            <p:nvPr/>
          </p:nvSpPr>
          <p:spPr>
            <a:xfrm>
              <a:off x="5082591" y="4492397"/>
              <a:ext cx="815361" cy="4291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6095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ercu Pro" panose="020B0803050601040103" pitchFamily="34" charset="0"/>
                  <a:ea typeface="MS PGothic" pitchFamily="34" charset="-128"/>
                  <a:cs typeface="+mn-cs"/>
                </a:rPr>
                <a:t>I call Asurion for support with my appliance</a:t>
              </a: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5EECF9AE-C674-467E-BFA1-B02589BEFBCB}"/>
                </a:ext>
              </a:extLst>
            </p:cNvPr>
            <p:cNvSpPr/>
            <p:nvPr/>
          </p:nvSpPr>
          <p:spPr bwMode="auto">
            <a:xfrm>
              <a:off x="5414071" y="4247907"/>
              <a:ext cx="152400" cy="152400"/>
            </a:xfrm>
            <a:prstGeom prst="ellipse">
              <a:avLst/>
            </a:prstGeom>
            <a:solidFill>
              <a:schemeClr val="tx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7619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ercu Pro" panose="020B0503050601040103" pitchFamily="34" charset="0"/>
                <a:ea typeface="+mn-ea"/>
                <a:cs typeface="+mn-cs"/>
              </a:endParaRPr>
            </a:p>
          </p:txBody>
        </p:sp>
        <p:pic>
          <p:nvPicPr>
            <p:cNvPr id="29" name="Graphic 73">
              <a:extLst>
                <a:ext uri="{FF2B5EF4-FFF2-40B4-BE49-F238E27FC236}">
                  <a16:creationId xmlns:a16="http://schemas.microsoft.com/office/drawing/2014/main" id="{BAC189E9-9B55-4CCE-A14C-516C0123E8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4080"/>
            <a:stretch/>
          </p:blipFill>
          <p:spPr>
            <a:xfrm>
              <a:off x="5327272" y="3775167"/>
              <a:ext cx="325998" cy="429158"/>
            </a:xfrm>
            <a:prstGeom prst="rect">
              <a:avLst/>
            </a:prstGeom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EB80B9CC-D14F-411C-B1A8-54067B79EEDC}"/>
              </a:ext>
            </a:extLst>
          </p:cNvPr>
          <p:cNvGrpSpPr/>
          <p:nvPr/>
        </p:nvGrpSpPr>
        <p:grpSpPr>
          <a:xfrm>
            <a:off x="1574772" y="3076292"/>
            <a:ext cx="971587" cy="1131499"/>
            <a:chOff x="3758434" y="3790056"/>
            <a:chExt cx="971587" cy="1131499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C26E6D30-6ABC-4235-8BB8-2F688577C2A5}"/>
                </a:ext>
              </a:extLst>
            </p:cNvPr>
            <p:cNvSpPr txBox="1"/>
            <p:nvPr/>
          </p:nvSpPr>
          <p:spPr>
            <a:xfrm>
              <a:off x="3758434" y="4492397"/>
              <a:ext cx="971587" cy="4291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6095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ercu Pro" panose="020B0803050601040103" pitchFamily="34" charset="0"/>
                  <a:ea typeface="MS PGothic" pitchFamily="34" charset="-128"/>
                  <a:cs typeface="+mn-cs"/>
                </a:rPr>
                <a:t>I look up “Appliance repair near me” and go to Asurion website</a:t>
              </a: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D6692C8F-BEAC-4FC1-BA71-1E17ACB8EF41}"/>
                </a:ext>
              </a:extLst>
            </p:cNvPr>
            <p:cNvSpPr/>
            <p:nvPr/>
          </p:nvSpPr>
          <p:spPr bwMode="auto">
            <a:xfrm>
              <a:off x="4168027" y="4247907"/>
              <a:ext cx="152400" cy="152400"/>
            </a:xfrm>
            <a:prstGeom prst="ellipse">
              <a:avLst/>
            </a:prstGeom>
            <a:solidFill>
              <a:schemeClr val="tx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7619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ercu Pro" panose="020B0503050601040103" pitchFamily="34" charset="0"/>
                <a:ea typeface="+mn-ea"/>
                <a:cs typeface="+mn-cs"/>
              </a:endParaRPr>
            </a:p>
          </p:txBody>
        </p:sp>
        <p:pic>
          <p:nvPicPr>
            <p:cNvPr id="33" name="Graphic 82">
              <a:extLst>
                <a:ext uri="{FF2B5EF4-FFF2-40B4-BE49-F238E27FC236}">
                  <a16:creationId xmlns:a16="http://schemas.microsoft.com/office/drawing/2014/main" id="{5142191D-7C6E-43D4-9775-F4799899BD2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1548" y="3790056"/>
              <a:ext cx="485358" cy="399380"/>
            </a:xfrm>
            <a:prstGeom prst="rect">
              <a:avLst/>
            </a:prstGeom>
          </p:spPr>
        </p:pic>
      </p:grpSp>
      <p:sp>
        <p:nvSpPr>
          <p:cNvPr id="38" name="Bent Arrow 209">
            <a:extLst>
              <a:ext uri="{FF2B5EF4-FFF2-40B4-BE49-F238E27FC236}">
                <a16:creationId xmlns:a16="http://schemas.microsoft.com/office/drawing/2014/main" id="{920E55B3-12F9-4561-81E3-53D5F4639EB7}"/>
              </a:ext>
            </a:extLst>
          </p:cNvPr>
          <p:cNvSpPr/>
          <p:nvPr/>
        </p:nvSpPr>
        <p:spPr bwMode="auto">
          <a:xfrm flipH="1" flipV="1">
            <a:off x="4352081" y="3241156"/>
            <a:ext cx="304032" cy="457200"/>
          </a:xfrm>
          <a:prstGeom prst="bentArrow">
            <a:avLst>
              <a:gd name="adj1" fmla="val 29196"/>
              <a:gd name="adj2" fmla="val 27211"/>
              <a:gd name="adj3" fmla="val 0"/>
              <a:gd name="adj4" fmla="val 49943"/>
            </a:avLst>
          </a:prstGeom>
          <a:pattFill prst="wdUpDiag">
            <a:fgClr>
              <a:schemeClr val="bg2"/>
            </a:fgClr>
            <a:bgClr>
              <a:schemeClr val="bg1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7619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ercu Pro Light" panose="020B0303050601040103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43" name="Speech Bubble: Oval 42">
            <a:extLst>
              <a:ext uri="{FF2B5EF4-FFF2-40B4-BE49-F238E27FC236}">
                <a16:creationId xmlns:a16="http://schemas.microsoft.com/office/drawing/2014/main" id="{FD03F9E9-1F8A-4D00-A720-4DDE96F21601}"/>
              </a:ext>
            </a:extLst>
          </p:cNvPr>
          <p:cNvSpPr/>
          <p:nvPr/>
        </p:nvSpPr>
        <p:spPr>
          <a:xfrm>
            <a:off x="534594" y="3913272"/>
            <a:ext cx="992630" cy="396610"/>
          </a:xfrm>
          <a:prstGeom prst="wedgeEllipseCallout">
            <a:avLst>
              <a:gd name="adj1" fmla="val 55077"/>
              <a:gd name="adj2" fmla="val -103808"/>
            </a:avLst>
          </a:prstGeom>
          <a:solidFill>
            <a:srgbClr val="D2FA46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age ads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B670E414-3280-41F7-B7C3-2412BABFB6C6}"/>
              </a:ext>
            </a:extLst>
          </p:cNvPr>
          <p:cNvGrpSpPr/>
          <p:nvPr/>
        </p:nvGrpSpPr>
        <p:grpSpPr>
          <a:xfrm>
            <a:off x="7880496" y="1712788"/>
            <a:ext cx="815361" cy="1913424"/>
            <a:chOff x="9209388" y="1868753"/>
            <a:chExt cx="815361" cy="1913424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D6079EA4-2D1B-468D-83A5-DB1E21F1E8E1}"/>
                </a:ext>
              </a:extLst>
            </p:cNvPr>
            <p:cNvSpPr txBox="1"/>
            <p:nvPr/>
          </p:nvSpPr>
          <p:spPr>
            <a:xfrm>
              <a:off x="9209388" y="2662427"/>
              <a:ext cx="815361" cy="11197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6095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ercu Pro" panose="020B0803050601040103" pitchFamily="34" charset="0"/>
                  <a:ea typeface="MS PGothic" pitchFamily="34" charset="-128"/>
                  <a:cs typeface="+mn-cs"/>
                </a:rPr>
                <a:t>Expert visits customer and orders parts and </a:t>
              </a:r>
              <a:r>
                <a:rPr lang="en-US" sz="900">
                  <a:solidFill>
                    <a:srgbClr val="000000"/>
                  </a:solidFill>
                  <a:latin typeface="Apercu Pro" panose="020B0803050601040103" pitchFamily="34" charset="0"/>
                  <a:ea typeface="MS PGothic" pitchFamily="34" charset="-128"/>
                </a:rPr>
                <a:t>schedule 2</a:t>
              </a:r>
              <a:r>
                <a:rPr lang="en-US" sz="900" baseline="30000">
                  <a:solidFill>
                    <a:srgbClr val="000000"/>
                  </a:solidFill>
                  <a:latin typeface="Apercu Pro" panose="020B0803050601040103" pitchFamily="34" charset="0"/>
                  <a:ea typeface="MS PGothic" pitchFamily="34" charset="-128"/>
                </a:rPr>
                <a:t>nd</a:t>
              </a:r>
              <a:r>
                <a:rPr lang="en-US" sz="900">
                  <a:solidFill>
                    <a:srgbClr val="000000"/>
                  </a:solidFill>
                  <a:latin typeface="Apercu Pro" panose="020B0803050601040103" pitchFamily="34" charset="0"/>
                  <a:ea typeface="MS PGothic" pitchFamily="34" charset="-128"/>
                </a:rPr>
                <a:t> appointment for part installation</a:t>
              </a: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ercu Pro" panose="020B0803050601040103" pitchFamily="34" charset="0"/>
                <a:ea typeface="MS PGothic" pitchFamily="34" charset="-128"/>
                <a:cs typeface="+mn-cs"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67B1AA31-DDE9-4D45-BA55-1C49456C3B14}"/>
                </a:ext>
              </a:extLst>
            </p:cNvPr>
            <p:cNvSpPr/>
            <p:nvPr/>
          </p:nvSpPr>
          <p:spPr bwMode="auto">
            <a:xfrm>
              <a:off x="9540868" y="2421934"/>
              <a:ext cx="152400" cy="152400"/>
            </a:xfrm>
            <a:prstGeom prst="ellipse">
              <a:avLst/>
            </a:prstGeom>
            <a:solidFill>
              <a:schemeClr val="tx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7619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ercu Pro" panose="020B0503050601040103" pitchFamily="34" charset="0"/>
                <a:ea typeface="+mn-ea"/>
                <a:cs typeface="+mn-cs"/>
              </a:endParaRPr>
            </a:p>
          </p:txBody>
        </p:sp>
        <p:pic>
          <p:nvPicPr>
            <p:cNvPr id="47" name="Graphic 46">
              <a:extLst>
                <a:ext uri="{FF2B5EF4-FFF2-40B4-BE49-F238E27FC236}">
                  <a16:creationId xmlns:a16="http://schemas.microsoft.com/office/drawing/2014/main" id="{1DA48A69-442F-4F20-B261-642BB1CA9B6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331761" y="1868753"/>
              <a:ext cx="570614" cy="570614"/>
            </a:xfrm>
            <a:prstGeom prst="rect">
              <a:avLst/>
            </a:prstGeom>
          </p:spPr>
        </p:pic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A17407AB-7C2E-462B-A0EF-28D3F4EF9F12}"/>
              </a:ext>
            </a:extLst>
          </p:cNvPr>
          <p:cNvGrpSpPr/>
          <p:nvPr/>
        </p:nvGrpSpPr>
        <p:grpSpPr>
          <a:xfrm>
            <a:off x="9826400" y="1831906"/>
            <a:ext cx="718755" cy="1636716"/>
            <a:chOff x="10379339" y="3745344"/>
            <a:chExt cx="718755" cy="1636716"/>
          </a:xfrm>
        </p:grpSpPr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DF980EC7-7938-4905-9F20-38380B2E4BBC}"/>
                </a:ext>
              </a:extLst>
            </p:cNvPr>
            <p:cNvSpPr txBox="1"/>
            <p:nvPr/>
          </p:nvSpPr>
          <p:spPr>
            <a:xfrm>
              <a:off x="10379339" y="4438401"/>
              <a:ext cx="718755" cy="9436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6095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ercu Pro" panose="020B0803050601040103" pitchFamily="34" charset="0"/>
                  <a:ea typeface="MS PGothic" pitchFamily="34" charset="-128"/>
                  <a:cs typeface="+mn-cs"/>
                </a:rPr>
                <a:t>If the parts will arrive after my original appt, the NSC team reschedules </a:t>
              </a:r>
            </a:p>
            <a:p>
              <a:pPr marL="0" marR="0" lvl="0" indent="0" algn="ctr" defTabSz="6095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ercu Pro" panose="020B0803050601040103" pitchFamily="34" charset="0"/>
                  <a:ea typeface="MS PGothic" pitchFamily="34" charset="-128"/>
                  <a:cs typeface="+mn-cs"/>
                </a:rPr>
                <a:t>1 day prior</a:t>
              </a: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06F4653D-438D-4E3B-9885-5508A0009AA6}"/>
                </a:ext>
              </a:extLst>
            </p:cNvPr>
            <p:cNvSpPr/>
            <p:nvPr/>
          </p:nvSpPr>
          <p:spPr bwMode="auto">
            <a:xfrm>
              <a:off x="10669669" y="4207450"/>
              <a:ext cx="152400" cy="152400"/>
            </a:xfrm>
            <a:prstGeom prst="ellipse">
              <a:avLst/>
            </a:prstGeom>
            <a:solidFill>
              <a:schemeClr val="tx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7619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ercu Pro" panose="020B0503050601040103" pitchFamily="34" charset="0"/>
                <a:ea typeface="+mn-ea"/>
                <a:cs typeface="+mn-cs"/>
              </a:endParaRPr>
            </a:p>
          </p:txBody>
        </p:sp>
        <p:pic>
          <p:nvPicPr>
            <p:cNvPr id="51" name="Picture 50" descr="A black sign with white text&#10;&#10;Description automatically generated">
              <a:extLst>
                <a:ext uri="{FF2B5EF4-FFF2-40B4-BE49-F238E27FC236}">
                  <a16:creationId xmlns:a16="http://schemas.microsoft.com/office/drawing/2014/main" id="{6FF7413A-3ACC-40A1-9FF2-E313A4BCD0F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11878" y="3745344"/>
              <a:ext cx="467983" cy="415138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96174733-78C4-43D2-94E9-F4F9D3A65558}"/>
              </a:ext>
            </a:extLst>
          </p:cNvPr>
          <p:cNvGrpSpPr/>
          <p:nvPr/>
        </p:nvGrpSpPr>
        <p:grpSpPr>
          <a:xfrm>
            <a:off x="6040130" y="1831906"/>
            <a:ext cx="718755" cy="1636716"/>
            <a:chOff x="10379339" y="3745344"/>
            <a:chExt cx="718755" cy="1636716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5773D01E-EB9F-449A-8B03-C4FBBC0D2632}"/>
                </a:ext>
              </a:extLst>
            </p:cNvPr>
            <p:cNvSpPr txBox="1"/>
            <p:nvPr/>
          </p:nvSpPr>
          <p:spPr>
            <a:xfrm>
              <a:off x="10379339" y="4438401"/>
              <a:ext cx="718755" cy="9436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6095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ercu Pro" panose="020B0803050601040103" pitchFamily="34" charset="0"/>
                  <a:ea typeface="MS PGothic" pitchFamily="34" charset="-128"/>
                  <a:cs typeface="+mn-cs"/>
                </a:rPr>
                <a:t>Initial diagnosis appointment is scheduled </a:t>
              </a: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835BE14A-A4CD-4E96-ACA4-9181E98B53F4}"/>
                </a:ext>
              </a:extLst>
            </p:cNvPr>
            <p:cNvSpPr/>
            <p:nvPr/>
          </p:nvSpPr>
          <p:spPr bwMode="auto">
            <a:xfrm>
              <a:off x="10669669" y="4207450"/>
              <a:ext cx="152400" cy="152400"/>
            </a:xfrm>
            <a:prstGeom prst="ellipse">
              <a:avLst/>
            </a:prstGeom>
            <a:solidFill>
              <a:schemeClr val="tx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7619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ercu Pro" panose="020B0503050601040103" pitchFamily="34" charset="0"/>
                <a:ea typeface="+mn-ea"/>
                <a:cs typeface="+mn-cs"/>
              </a:endParaRPr>
            </a:p>
          </p:txBody>
        </p:sp>
        <p:pic>
          <p:nvPicPr>
            <p:cNvPr id="56" name="Picture 55" descr="A black sign with white text&#10;&#10;Description automatically generated">
              <a:extLst>
                <a:ext uri="{FF2B5EF4-FFF2-40B4-BE49-F238E27FC236}">
                  <a16:creationId xmlns:a16="http://schemas.microsoft.com/office/drawing/2014/main" id="{8DDA7A22-D641-410D-AE95-01C20695CB0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11878" y="3745344"/>
              <a:ext cx="467983" cy="415138"/>
            </a:xfrm>
            <a:prstGeom prst="rect">
              <a:avLst/>
            </a:prstGeom>
          </p:spPr>
        </p:pic>
      </p:grpSp>
      <p:sp>
        <p:nvSpPr>
          <p:cNvPr id="57" name="Speech Bubble: Oval 56">
            <a:extLst>
              <a:ext uri="{FF2B5EF4-FFF2-40B4-BE49-F238E27FC236}">
                <a16:creationId xmlns:a16="http://schemas.microsoft.com/office/drawing/2014/main" id="{EC6C9911-059C-4099-8A7E-D783388CF493}"/>
              </a:ext>
            </a:extLst>
          </p:cNvPr>
          <p:cNvSpPr/>
          <p:nvPr/>
        </p:nvSpPr>
        <p:spPr>
          <a:xfrm>
            <a:off x="8820699" y="3484808"/>
            <a:ext cx="1539879" cy="532608"/>
          </a:xfrm>
          <a:prstGeom prst="wedgeEllipseCallout">
            <a:avLst>
              <a:gd name="adj1" fmla="val 19199"/>
              <a:gd name="adj2" fmla="val -98936"/>
            </a:avLst>
          </a:prstGeom>
          <a:solidFill>
            <a:srgbClr val="D2FA46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ob readiness,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>
                <a:solidFill>
                  <a:srgbClr val="000000"/>
                </a:solidFill>
                <a:latin typeface="Calibri" panose="020F0502020204030204"/>
              </a:rPr>
              <a:t>Truck stock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A815E955-3526-490E-BB39-7684613C2A7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43747" y="2207903"/>
            <a:ext cx="207753" cy="314293"/>
          </a:xfrm>
          <a:prstGeom prst="rect">
            <a:avLst/>
          </a:prstGeom>
          <a:noFill/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9AEA3F42-F160-48F7-A35D-57CEF64A3A33}"/>
              </a:ext>
            </a:extLst>
          </p:cNvPr>
          <p:cNvSpPr txBox="1"/>
          <p:nvPr/>
        </p:nvSpPr>
        <p:spPr>
          <a:xfrm>
            <a:off x="11111149" y="2207660"/>
            <a:ext cx="740482" cy="38318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3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ercu Pro" panose="020B0503050601040103" pitchFamily="34" charset="0"/>
                <a:ea typeface="MS PGothic" pitchFamily="34" charset="-128"/>
                <a:cs typeface="+mn-cs"/>
              </a:rPr>
              <a:t>Journey continues with pre-repair</a:t>
            </a: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DAFCDE25-4D11-4C51-94C3-FD21E80B4894}"/>
              </a:ext>
            </a:extLst>
          </p:cNvPr>
          <p:cNvCxnSpPr/>
          <p:nvPr/>
        </p:nvCxnSpPr>
        <p:spPr>
          <a:xfrm>
            <a:off x="4405126" y="4685679"/>
            <a:ext cx="0" cy="1584960"/>
          </a:xfrm>
          <a:prstGeom prst="line">
            <a:avLst/>
          </a:prstGeom>
          <a:ln w="12700" cap="rnd">
            <a:solidFill>
              <a:schemeClr val="accent1">
                <a:lumMod val="20000"/>
                <a:lumOff val="80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C3E7065A-1FB3-4EE8-8F04-E5F3E3C921CB}"/>
              </a:ext>
            </a:extLst>
          </p:cNvPr>
          <p:cNvCxnSpPr/>
          <p:nvPr/>
        </p:nvCxnSpPr>
        <p:spPr>
          <a:xfrm>
            <a:off x="8260669" y="4685679"/>
            <a:ext cx="0" cy="1584960"/>
          </a:xfrm>
          <a:prstGeom prst="line">
            <a:avLst/>
          </a:prstGeom>
          <a:ln w="12700" cap="rnd">
            <a:solidFill>
              <a:schemeClr val="accent1">
                <a:lumMod val="20000"/>
                <a:lumOff val="80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7" name="Rectangle 66">
            <a:extLst>
              <a:ext uri="{FF2B5EF4-FFF2-40B4-BE49-F238E27FC236}">
                <a16:creationId xmlns:a16="http://schemas.microsoft.com/office/drawing/2014/main" id="{EF72423F-B37D-4079-B00A-7A84B4F18D48}"/>
              </a:ext>
            </a:extLst>
          </p:cNvPr>
          <p:cNvSpPr/>
          <p:nvPr/>
        </p:nvSpPr>
        <p:spPr>
          <a:xfrm>
            <a:off x="889071" y="4685679"/>
            <a:ext cx="3413760" cy="151529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>
                <a:solidFill>
                  <a:schemeClr val="accent1"/>
                </a:solidFill>
              </a:rPr>
              <a:t>Manage Marketing Spend</a:t>
            </a:r>
          </a:p>
          <a:p>
            <a:endParaRPr lang="en-US" sz="140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Proactively identify when market is at capacity and turn off ad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>
              <a:solidFill>
                <a:schemeClr val="tx1"/>
              </a:solidFill>
            </a:endParaRPr>
          </a:p>
          <a:p>
            <a:r>
              <a:rPr lang="en-US" sz="1200">
                <a:solidFill>
                  <a:schemeClr val="tx1"/>
                </a:solidFill>
              </a:rPr>
              <a:t>Impact: Reduce CAC for MA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3ED4495-1DDC-4B25-9007-0F51B6D38AB2}"/>
              </a:ext>
            </a:extLst>
          </p:cNvPr>
          <p:cNvSpPr/>
          <p:nvPr/>
        </p:nvSpPr>
        <p:spPr>
          <a:xfrm>
            <a:off x="4724900" y="4693956"/>
            <a:ext cx="3413760" cy="151529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>
                <a:solidFill>
                  <a:schemeClr val="accent1"/>
                </a:solidFill>
              </a:rPr>
              <a:t>Job Readiness</a:t>
            </a:r>
          </a:p>
          <a:p>
            <a:endParaRPr lang="en-US" sz="140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Predict when parts and techs are ready for every repai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>
              <a:solidFill>
                <a:schemeClr val="tx1"/>
              </a:solidFill>
            </a:endParaRPr>
          </a:p>
          <a:p>
            <a:r>
              <a:rPr lang="en-US" sz="1200">
                <a:solidFill>
                  <a:schemeClr val="tx1"/>
                </a:solidFill>
              </a:rPr>
              <a:t>Impact: Reduce reschedules, increase FTF</a:t>
            </a:r>
          </a:p>
        </p:txBody>
      </p:sp>
    </p:spTree>
    <p:extLst>
      <p:ext uri="{BB962C8B-B14F-4D97-AF65-F5344CB8AC3E}">
        <p14:creationId xmlns:p14="http://schemas.microsoft.com/office/powerpoint/2010/main" val="2088810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57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BDE66D3-C1EE-4B65-9747-77016C6CC7CB}"/>
              </a:ext>
            </a:extLst>
          </p:cNvPr>
          <p:cNvSpPr/>
          <p:nvPr/>
        </p:nvSpPr>
        <p:spPr>
          <a:xfrm>
            <a:off x="500062" y="1349829"/>
            <a:ext cx="11321143" cy="3169920"/>
          </a:xfrm>
          <a:prstGeom prst="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>NETWORK SETUP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3D05263-0442-41FA-90BB-B6B84C2A31A5}"/>
              </a:ext>
            </a:extLst>
          </p:cNvPr>
          <p:cNvSpPr/>
          <p:nvPr/>
        </p:nvSpPr>
        <p:spPr bwMode="auto">
          <a:xfrm>
            <a:off x="765435" y="2387488"/>
            <a:ext cx="10149840" cy="92582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7619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ercu Pro Light" panose="020B0303050601040103" pitchFamily="34" charset="0"/>
              <a:ea typeface="MS PGothic" pitchFamily="34" charset="-128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439A958-E593-4239-9CC7-77D691E04667}"/>
              </a:ext>
            </a:extLst>
          </p:cNvPr>
          <p:cNvGrpSpPr/>
          <p:nvPr/>
        </p:nvGrpSpPr>
        <p:grpSpPr>
          <a:xfrm>
            <a:off x="4099049" y="1849210"/>
            <a:ext cx="1007401" cy="2036496"/>
            <a:chOff x="2144173" y="1683421"/>
            <a:chExt cx="1007401" cy="2036496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5802D381-2448-4E44-B2CD-1C9178F33C6E}"/>
                </a:ext>
              </a:extLst>
            </p:cNvPr>
            <p:cNvSpPr txBox="1"/>
            <p:nvPr/>
          </p:nvSpPr>
          <p:spPr>
            <a:xfrm>
              <a:off x="2144173" y="2432495"/>
              <a:ext cx="1007401" cy="12874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6095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>
                  <a:solidFill>
                    <a:srgbClr val="000000"/>
                  </a:solidFill>
                  <a:latin typeface="Apercu Pro" panose="020B0803050601040103" pitchFamily="34" charset="0"/>
                  <a:ea typeface="MS PGothic" pitchFamily="34" charset="-128"/>
                </a:rPr>
                <a:t>OEMs block availability for most techs for next 3 days. </a:t>
              </a:r>
            </a:p>
            <a:p>
              <a:pPr marL="0" marR="0" lvl="0" indent="0" algn="ctr" defTabSz="6095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>
                  <a:solidFill>
                    <a:srgbClr val="000000"/>
                  </a:solidFill>
                  <a:latin typeface="Apercu Pro" panose="020B0803050601040103" pitchFamily="34" charset="0"/>
                  <a:ea typeface="MS PGothic" pitchFamily="34" charset="-128"/>
                </a:rPr>
                <a:t>Rest of the tech schedules are filled by D2C</a:t>
              </a: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ercu Pro" panose="020B0803050601040103" pitchFamily="34" charset="0"/>
                <a:ea typeface="MS PGothic" pitchFamily="34" charset="-128"/>
                <a:cs typeface="+mn-cs"/>
              </a:endParaRPr>
            </a:p>
          </p:txBody>
        </p:sp>
        <p:pic>
          <p:nvPicPr>
            <p:cNvPr id="35" name="Graphic 73">
              <a:extLst>
                <a:ext uri="{FF2B5EF4-FFF2-40B4-BE49-F238E27FC236}">
                  <a16:creationId xmlns:a16="http://schemas.microsoft.com/office/drawing/2014/main" id="{248E3ACA-FDA7-4465-A242-099E0EA7F7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4080"/>
            <a:stretch/>
          </p:blipFill>
          <p:spPr>
            <a:xfrm>
              <a:off x="2529915" y="1683421"/>
              <a:ext cx="325998" cy="429158"/>
            </a:xfrm>
            <a:prstGeom prst="rect">
              <a:avLst/>
            </a:prstGeom>
          </p:spPr>
        </p:pic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2DA23476-07A1-47C6-B816-EEC83C0B968D}"/>
                </a:ext>
              </a:extLst>
            </p:cNvPr>
            <p:cNvSpPr/>
            <p:nvPr/>
          </p:nvSpPr>
          <p:spPr bwMode="auto">
            <a:xfrm>
              <a:off x="2604414" y="2179943"/>
              <a:ext cx="152400" cy="152400"/>
            </a:xfrm>
            <a:prstGeom prst="ellipse">
              <a:avLst/>
            </a:prstGeom>
            <a:solidFill>
              <a:schemeClr val="tx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7619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ercu Pro" panose="020B0503050601040103" pitchFamily="34" charset="0"/>
                <a:ea typeface="+mn-ea"/>
                <a:cs typeface="+mn-cs"/>
              </a:endParaRPr>
            </a:p>
          </p:txBody>
        </p:sp>
      </p:grpSp>
      <p:sp>
        <p:nvSpPr>
          <p:cNvPr id="6" name="Title 1">
            <a:extLst>
              <a:ext uri="{FF2B5EF4-FFF2-40B4-BE49-F238E27FC236}">
                <a16:creationId xmlns:a16="http://schemas.microsoft.com/office/drawing/2014/main" id="{DEBBCECE-F466-4A06-8E61-A097DE5671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063" y="440482"/>
            <a:ext cx="11191875" cy="1080135"/>
          </a:xfrm>
        </p:spPr>
        <p:txBody>
          <a:bodyPr>
            <a:normAutofit/>
          </a:bodyPr>
          <a:lstStyle/>
          <a:p>
            <a:r>
              <a:rPr lang="en-US"/>
              <a:t>Current setup and opportuniti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3A9ECF-1448-4DDE-829B-D0D7C87154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610600" y="6417518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3ACAB3-CA36-4966-8A1D-076772D39D8D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79DE2A9-D50D-418A-BA85-32408B59CD3A}"/>
              </a:ext>
            </a:extLst>
          </p:cNvPr>
          <p:cNvSpPr/>
          <p:nvPr/>
        </p:nvSpPr>
        <p:spPr bwMode="auto">
          <a:xfrm rot="16200000">
            <a:off x="659362" y="2433649"/>
            <a:ext cx="211470" cy="18288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7619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ercu Pro Light" panose="020B0303050601040103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33CA261-AC0A-40E6-8ACA-C7A14F4C1902}"/>
              </a:ext>
            </a:extLst>
          </p:cNvPr>
          <p:cNvSpPr/>
          <p:nvPr/>
        </p:nvSpPr>
        <p:spPr bwMode="auto">
          <a:xfrm>
            <a:off x="1377169" y="2360855"/>
            <a:ext cx="152400" cy="152400"/>
          </a:xfrm>
          <a:prstGeom prst="ellipse">
            <a:avLst/>
          </a:prstGeom>
          <a:solidFill>
            <a:schemeClr val="tx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619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ercu Pro" panose="020B0503050601040103" pitchFamily="34" charset="0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910D343-7415-4FE8-B0A1-63E046BE768C}"/>
              </a:ext>
            </a:extLst>
          </p:cNvPr>
          <p:cNvSpPr txBox="1"/>
          <p:nvPr/>
        </p:nvSpPr>
        <p:spPr>
          <a:xfrm>
            <a:off x="1022555" y="2601348"/>
            <a:ext cx="1007401" cy="9408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6095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ercu Pro" panose="020B0803050601040103" pitchFamily="34" charset="0"/>
                <a:ea typeface="MS PGothic" pitchFamily="34" charset="-128"/>
                <a:cs typeface="+mn-cs"/>
              </a:rPr>
              <a:t>44 markets in US</a:t>
            </a:r>
            <a:r>
              <a:rPr lang="en-US" sz="900">
                <a:solidFill>
                  <a:srgbClr val="000000"/>
                </a:solidFill>
                <a:latin typeface="Apercu Pro" panose="020B0803050601040103" pitchFamily="34" charset="0"/>
                <a:ea typeface="MS PGothic" pitchFamily="34" charset="-128"/>
              </a:rPr>
              <a:t>A:</a:t>
            </a:r>
          </a:p>
          <a:p>
            <a:pPr marL="0" marR="0" lvl="0" indent="0" defTabSz="6095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ercu Pro" panose="020B0803050601040103" pitchFamily="34" charset="0"/>
                <a:ea typeface="MS PGothic" pitchFamily="34" charset="-128"/>
                <a:cs typeface="+mn-cs"/>
              </a:rPr>
              <a:t>Each market is about 100 miles radius from center of each CBSA, has 1 FSL and set of techs</a:t>
            </a:r>
          </a:p>
          <a:p>
            <a:pPr marL="0" marR="0" lvl="0" indent="0" defTabSz="6095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>
              <a:solidFill>
                <a:srgbClr val="000000"/>
              </a:solidFill>
              <a:latin typeface="Apercu Pro" panose="020B0803050601040103" pitchFamily="34" charset="0"/>
              <a:ea typeface="MS PGothic" pitchFamily="34" charset="-128"/>
            </a:endParaRPr>
          </a:p>
          <a:p>
            <a:pPr marL="0" marR="0" lvl="0" indent="0" defTabSz="6095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ercu Pro" panose="020B0803050601040103" pitchFamily="34" charset="0"/>
                <a:ea typeface="MS PGothic" pitchFamily="34" charset="-128"/>
                <a:cs typeface="+mn-cs"/>
              </a:rPr>
              <a:t>Example: Tampa has 7 techs covering a radius of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ercu Pro" panose="020B0803050601040103" pitchFamily="34" charset="0"/>
                <a:ea typeface="MS PGothic" pitchFamily="34" charset="-128"/>
                <a:cs typeface="+mn-cs"/>
              </a:rPr>
              <a:t>x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ercu Pro" panose="020B0803050601040103" pitchFamily="34" charset="0"/>
                <a:ea typeface="MS PGothic" pitchFamily="34" charset="-128"/>
                <a:cs typeface="+mn-cs"/>
              </a:rPr>
              <a:t> miles.</a:t>
            </a:r>
          </a:p>
          <a:p>
            <a:pPr marL="0" marR="0" lvl="0" indent="0" algn="ctr" defTabSz="6095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ercu Pro" panose="020B0803050601040103" pitchFamily="34" charset="0"/>
              <a:ea typeface="MS PGothic" pitchFamily="34" charset="-128"/>
              <a:cs typeface="+mn-cs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B670E414-3280-41F7-B7C3-2412BABFB6C6}"/>
              </a:ext>
            </a:extLst>
          </p:cNvPr>
          <p:cNvGrpSpPr/>
          <p:nvPr/>
        </p:nvGrpSpPr>
        <p:grpSpPr>
          <a:xfrm>
            <a:off x="6191168" y="1795918"/>
            <a:ext cx="815361" cy="1913424"/>
            <a:chOff x="9209388" y="1868753"/>
            <a:chExt cx="815361" cy="1913424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D6079EA4-2D1B-468D-83A5-DB1E21F1E8E1}"/>
                </a:ext>
              </a:extLst>
            </p:cNvPr>
            <p:cNvSpPr txBox="1"/>
            <p:nvPr/>
          </p:nvSpPr>
          <p:spPr>
            <a:xfrm>
              <a:off x="9209388" y="2662427"/>
              <a:ext cx="815361" cy="11197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6095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ercu Pro" panose="020B0803050601040103" pitchFamily="34" charset="0"/>
                  <a:ea typeface="MS PGothic" pitchFamily="34" charset="-128"/>
                  <a:cs typeface="+mn-cs"/>
                </a:rPr>
                <a:t>Expert visits customer and orders parts and </a:t>
              </a:r>
              <a:r>
                <a:rPr lang="en-US" sz="900">
                  <a:solidFill>
                    <a:srgbClr val="000000"/>
                  </a:solidFill>
                  <a:latin typeface="Apercu Pro" panose="020B0803050601040103" pitchFamily="34" charset="0"/>
                  <a:ea typeface="MS PGothic" pitchFamily="34" charset="-128"/>
                </a:rPr>
                <a:t>schedule 2</a:t>
              </a:r>
              <a:r>
                <a:rPr lang="en-US" sz="900" baseline="30000">
                  <a:solidFill>
                    <a:srgbClr val="000000"/>
                  </a:solidFill>
                  <a:latin typeface="Apercu Pro" panose="020B0803050601040103" pitchFamily="34" charset="0"/>
                  <a:ea typeface="MS PGothic" pitchFamily="34" charset="-128"/>
                </a:rPr>
                <a:t>nd</a:t>
              </a:r>
              <a:r>
                <a:rPr lang="en-US" sz="900">
                  <a:solidFill>
                    <a:srgbClr val="000000"/>
                  </a:solidFill>
                  <a:latin typeface="Apercu Pro" panose="020B0803050601040103" pitchFamily="34" charset="0"/>
                  <a:ea typeface="MS PGothic" pitchFamily="34" charset="-128"/>
                </a:rPr>
                <a:t> appointment for part installation</a:t>
              </a: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ercu Pro" panose="020B0803050601040103" pitchFamily="34" charset="0"/>
                <a:ea typeface="MS PGothic" pitchFamily="34" charset="-128"/>
                <a:cs typeface="+mn-cs"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67B1AA31-DDE9-4D45-BA55-1C49456C3B14}"/>
                </a:ext>
              </a:extLst>
            </p:cNvPr>
            <p:cNvSpPr/>
            <p:nvPr/>
          </p:nvSpPr>
          <p:spPr bwMode="auto">
            <a:xfrm>
              <a:off x="9540868" y="2421934"/>
              <a:ext cx="152400" cy="152400"/>
            </a:xfrm>
            <a:prstGeom prst="ellipse">
              <a:avLst/>
            </a:prstGeom>
            <a:solidFill>
              <a:schemeClr val="tx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7619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ercu Pro" panose="020B0503050601040103" pitchFamily="34" charset="0"/>
                <a:ea typeface="+mn-ea"/>
                <a:cs typeface="+mn-cs"/>
              </a:endParaRPr>
            </a:p>
          </p:txBody>
        </p:sp>
        <p:pic>
          <p:nvPicPr>
            <p:cNvPr id="47" name="Graphic 46">
              <a:extLst>
                <a:ext uri="{FF2B5EF4-FFF2-40B4-BE49-F238E27FC236}">
                  <a16:creationId xmlns:a16="http://schemas.microsoft.com/office/drawing/2014/main" id="{1DA48A69-442F-4F20-B261-642BB1CA9B6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331761" y="1868753"/>
              <a:ext cx="570614" cy="570614"/>
            </a:xfrm>
            <a:prstGeom prst="rect">
              <a:avLst/>
            </a:prstGeom>
          </p:spPr>
        </p:pic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A17407AB-7C2E-462B-A0EF-28D3F4EF9F12}"/>
              </a:ext>
            </a:extLst>
          </p:cNvPr>
          <p:cNvGrpSpPr/>
          <p:nvPr/>
        </p:nvGrpSpPr>
        <p:grpSpPr>
          <a:xfrm>
            <a:off x="7896759" y="1892023"/>
            <a:ext cx="718755" cy="1636716"/>
            <a:chOff x="10379339" y="3745344"/>
            <a:chExt cx="718755" cy="1636716"/>
          </a:xfrm>
        </p:grpSpPr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DF980EC7-7938-4905-9F20-38380B2E4BBC}"/>
                </a:ext>
              </a:extLst>
            </p:cNvPr>
            <p:cNvSpPr txBox="1"/>
            <p:nvPr/>
          </p:nvSpPr>
          <p:spPr>
            <a:xfrm>
              <a:off x="10379339" y="4438401"/>
              <a:ext cx="718755" cy="9436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6095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ercu Pro" panose="020B0803050601040103" pitchFamily="34" charset="0"/>
                  <a:ea typeface="MS PGothic" pitchFamily="34" charset="-128"/>
                  <a:cs typeface="+mn-cs"/>
                </a:rPr>
                <a:t>If the parts will arrive after my original appt, the NSC team reschedules </a:t>
              </a:r>
            </a:p>
            <a:p>
              <a:pPr marL="0" marR="0" lvl="0" indent="0" algn="ctr" defTabSz="6095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ercu Pro" panose="020B0803050601040103" pitchFamily="34" charset="0"/>
                  <a:ea typeface="MS PGothic" pitchFamily="34" charset="-128"/>
                  <a:cs typeface="+mn-cs"/>
                </a:rPr>
                <a:t>1 day prior</a:t>
              </a: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06F4653D-438D-4E3B-9885-5508A0009AA6}"/>
                </a:ext>
              </a:extLst>
            </p:cNvPr>
            <p:cNvSpPr/>
            <p:nvPr/>
          </p:nvSpPr>
          <p:spPr bwMode="auto">
            <a:xfrm>
              <a:off x="10669669" y="4207450"/>
              <a:ext cx="152400" cy="152400"/>
            </a:xfrm>
            <a:prstGeom prst="ellipse">
              <a:avLst/>
            </a:prstGeom>
            <a:solidFill>
              <a:schemeClr val="tx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7619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ercu Pro" panose="020B0503050601040103" pitchFamily="34" charset="0"/>
                <a:ea typeface="+mn-ea"/>
                <a:cs typeface="+mn-cs"/>
              </a:endParaRPr>
            </a:p>
          </p:txBody>
        </p:sp>
        <p:pic>
          <p:nvPicPr>
            <p:cNvPr id="51" name="Picture 50" descr="A black sign with white text&#10;&#10;Description automatically generated">
              <a:extLst>
                <a:ext uri="{FF2B5EF4-FFF2-40B4-BE49-F238E27FC236}">
                  <a16:creationId xmlns:a16="http://schemas.microsoft.com/office/drawing/2014/main" id="{6FF7413A-3ACC-40A1-9FF2-E313A4BCD0F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11878" y="3745344"/>
              <a:ext cx="467983" cy="415138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96174733-78C4-43D2-94E9-F4F9D3A65558}"/>
              </a:ext>
            </a:extLst>
          </p:cNvPr>
          <p:cNvGrpSpPr/>
          <p:nvPr/>
        </p:nvGrpSpPr>
        <p:grpSpPr>
          <a:xfrm>
            <a:off x="2563168" y="1921990"/>
            <a:ext cx="718755" cy="1636716"/>
            <a:chOff x="10379339" y="3745344"/>
            <a:chExt cx="718755" cy="1636716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5773D01E-EB9F-449A-8B03-C4FBBC0D2632}"/>
                </a:ext>
              </a:extLst>
            </p:cNvPr>
            <p:cNvSpPr txBox="1"/>
            <p:nvPr/>
          </p:nvSpPr>
          <p:spPr>
            <a:xfrm>
              <a:off x="10379339" y="4438401"/>
              <a:ext cx="718755" cy="9436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6095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ercu Pro" panose="020B0803050601040103" pitchFamily="34" charset="0"/>
                  <a:ea typeface="MS PGothic" pitchFamily="34" charset="-128"/>
                  <a:cs typeface="+mn-cs"/>
                </a:rPr>
                <a:t>Each tech covers ~6 jobs/day in the whole market</a:t>
              </a: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835BE14A-A4CD-4E96-ACA4-9181E98B53F4}"/>
                </a:ext>
              </a:extLst>
            </p:cNvPr>
            <p:cNvSpPr/>
            <p:nvPr/>
          </p:nvSpPr>
          <p:spPr bwMode="auto">
            <a:xfrm>
              <a:off x="10669669" y="4207450"/>
              <a:ext cx="152400" cy="152400"/>
            </a:xfrm>
            <a:prstGeom prst="ellipse">
              <a:avLst/>
            </a:prstGeom>
            <a:solidFill>
              <a:schemeClr val="tx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7619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ercu Pro" panose="020B0503050601040103" pitchFamily="34" charset="0"/>
                <a:ea typeface="+mn-ea"/>
                <a:cs typeface="+mn-cs"/>
              </a:endParaRPr>
            </a:p>
          </p:txBody>
        </p:sp>
        <p:pic>
          <p:nvPicPr>
            <p:cNvPr id="56" name="Picture 55" descr="A black sign with white text&#10;&#10;Description automatically generated">
              <a:extLst>
                <a:ext uri="{FF2B5EF4-FFF2-40B4-BE49-F238E27FC236}">
                  <a16:creationId xmlns:a16="http://schemas.microsoft.com/office/drawing/2014/main" id="{8DDA7A22-D641-410D-AE95-01C20695CB0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11878" y="3745344"/>
              <a:ext cx="467983" cy="415138"/>
            </a:xfrm>
            <a:prstGeom prst="rect">
              <a:avLst/>
            </a:prstGeom>
          </p:spPr>
        </p:pic>
      </p:grpSp>
      <p:sp>
        <p:nvSpPr>
          <p:cNvPr id="57" name="Speech Bubble: Oval 56">
            <a:extLst>
              <a:ext uri="{FF2B5EF4-FFF2-40B4-BE49-F238E27FC236}">
                <a16:creationId xmlns:a16="http://schemas.microsoft.com/office/drawing/2014/main" id="{EC6C9911-059C-4099-8A7E-D783388CF493}"/>
              </a:ext>
            </a:extLst>
          </p:cNvPr>
          <p:cNvSpPr/>
          <p:nvPr/>
        </p:nvSpPr>
        <p:spPr>
          <a:xfrm>
            <a:off x="2563168" y="3445843"/>
            <a:ext cx="1320855" cy="526999"/>
          </a:xfrm>
          <a:prstGeom prst="wedgeEllipseCallout">
            <a:avLst>
              <a:gd name="adj1" fmla="val -27692"/>
              <a:gd name="adj2" fmla="val -93126"/>
            </a:avLst>
          </a:prstGeom>
          <a:solidFill>
            <a:srgbClr val="D2FA46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ch Zone Coverage</a:t>
            </a: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A815E955-3526-490E-BB39-7684613C2A7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43747" y="2286280"/>
            <a:ext cx="207753" cy="314293"/>
          </a:xfrm>
          <a:prstGeom prst="rect">
            <a:avLst/>
          </a:prstGeom>
          <a:noFill/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9AEA3F42-F160-48F7-A35D-57CEF64A3A33}"/>
              </a:ext>
            </a:extLst>
          </p:cNvPr>
          <p:cNvSpPr txBox="1"/>
          <p:nvPr/>
        </p:nvSpPr>
        <p:spPr>
          <a:xfrm>
            <a:off x="11111149" y="2286037"/>
            <a:ext cx="740482" cy="38318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3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ercu Pro" panose="020B0503050601040103" pitchFamily="34" charset="0"/>
                <a:ea typeface="MS PGothic" pitchFamily="34" charset="-128"/>
                <a:cs typeface="+mn-cs"/>
              </a:rPr>
              <a:t>Journey continues with pre-repair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08E0896-6F57-4446-92F0-98ECD08F207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5474" y="1843301"/>
            <a:ext cx="518616" cy="518616"/>
          </a:xfrm>
          <a:prstGeom prst="rect">
            <a:avLst/>
          </a:prstGeom>
        </p:spPr>
      </p:pic>
      <p:sp>
        <p:nvSpPr>
          <p:cNvPr id="60" name="Speech Bubble: Oval 59">
            <a:extLst>
              <a:ext uri="{FF2B5EF4-FFF2-40B4-BE49-F238E27FC236}">
                <a16:creationId xmlns:a16="http://schemas.microsoft.com/office/drawing/2014/main" id="{C9C77F87-B6EB-4BD3-88D5-F74050C833A5}"/>
              </a:ext>
            </a:extLst>
          </p:cNvPr>
          <p:cNvSpPr/>
          <p:nvPr/>
        </p:nvSpPr>
        <p:spPr>
          <a:xfrm>
            <a:off x="4332812" y="3675728"/>
            <a:ext cx="1946067" cy="751439"/>
          </a:xfrm>
          <a:prstGeom prst="wedgeEllipseCallout">
            <a:avLst>
              <a:gd name="adj1" fmla="val -27692"/>
              <a:gd name="adj2" fmla="val -93126"/>
            </a:avLst>
          </a:prstGeom>
          <a:solidFill>
            <a:srgbClr val="D2FA46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mand forecasting, capacity planning </a:t>
            </a:r>
          </a:p>
        </p:txBody>
      </p:sp>
      <p:sp>
        <p:nvSpPr>
          <p:cNvPr id="61" name="Speech Bubble: Oval 60">
            <a:extLst>
              <a:ext uri="{FF2B5EF4-FFF2-40B4-BE49-F238E27FC236}">
                <a16:creationId xmlns:a16="http://schemas.microsoft.com/office/drawing/2014/main" id="{CBA7BA45-0D63-416E-9914-FC7A2458A31C}"/>
              </a:ext>
            </a:extLst>
          </p:cNvPr>
          <p:cNvSpPr/>
          <p:nvPr/>
        </p:nvSpPr>
        <p:spPr>
          <a:xfrm>
            <a:off x="7650116" y="3675728"/>
            <a:ext cx="1617546" cy="513515"/>
          </a:xfrm>
          <a:prstGeom prst="wedgeEllipseCallout">
            <a:avLst>
              <a:gd name="adj1" fmla="val -27245"/>
              <a:gd name="adj2" fmla="val -82696"/>
            </a:avLst>
          </a:prstGeom>
          <a:solidFill>
            <a:srgbClr val="D2FA46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lot management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D4124F4-9D25-4FFC-BD74-6FF76EDAD1A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9322" t="6148" r="13083" b="15932"/>
          <a:stretch/>
        </p:blipFill>
        <p:spPr>
          <a:xfrm>
            <a:off x="9658216" y="1791513"/>
            <a:ext cx="647967" cy="569342"/>
          </a:xfrm>
          <a:prstGeom prst="rect">
            <a:avLst/>
          </a:prstGeo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3A6829C6-CA1B-4C15-B927-19D7B3788EE3}"/>
              </a:ext>
            </a:extLst>
          </p:cNvPr>
          <p:cNvSpPr txBox="1"/>
          <p:nvPr/>
        </p:nvSpPr>
        <p:spPr>
          <a:xfrm>
            <a:off x="9642423" y="2608170"/>
            <a:ext cx="718755" cy="9436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6095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ercu Pro" panose="020B0803050601040103" pitchFamily="34" charset="0"/>
                <a:ea typeface="MS PGothic" pitchFamily="34" charset="-128"/>
                <a:cs typeface="+mn-cs"/>
              </a:rPr>
              <a:t>Tech looks up appointments and starts making</a:t>
            </a:r>
            <a:r>
              <a:rPr lang="en-US" sz="900">
                <a:solidFill>
                  <a:srgbClr val="000000"/>
                </a:solidFill>
                <a:latin typeface="Apercu Pro" panose="020B0803050601040103" pitchFamily="34" charset="0"/>
                <a:ea typeface="MS PGothic" pitchFamily="34" charset="-128"/>
              </a:rPr>
              <a:t> visits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ercu Pro" panose="020B0803050601040103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A847C09E-2D10-4BBC-B6B1-07490B39D707}"/>
              </a:ext>
            </a:extLst>
          </p:cNvPr>
          <p:cNvSpPr/>
          <p:nvPr/>
        </p:nvSpPr>
        <p:spPr bwMode="auto">
          <a:xfrm>
            <a:off x="9932753" y="2377219"/>
            <a:ext cx="152400" cy="152400"/>
          </a:xfrm>
          <a:prstGeom prst="ellipse">
            <a:avLst/>
          </a:prstGeom>
          <a:solidFill>
            <a:schemeClr val="tx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619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ercu Pro" panose="020B0503050601040103" pitchFamily="34" charset="0"/>
              <a:ea typeface="+mn-ea"/>
              <a:cs typeface="+mn-cs"/>
            </a:endParaRPr>
          </a:p>
        </p:txBody>
      </p:sp>
      <p:sp>
        <p:nvSpPr>
          <p:cNvPr id="64" name="Speech Bubble: Oval 63">
            <a:extLst>
              <a:ext uri="{FF2B5EF4-FFF2-40B4-BE49-F238E27FC236}">
                <a16:creationId xmlns:a16="http://schemas.microsoft.com/office/drawing/2014/main" id="{E9C8CBE6-B2C4-4AB9-B8C8-71F56D40D58D}"/>
              </a:ext>
            </a:extLst>
          </p:cNvPr>
          <p:cNvSpPr/>
          <p:nvPr/>
        </p:nvSpPr>
        <p:spPr>
          <a:xfrm>
            <a:off x="9892993" y="3445843"/>
            <a:ext cx="1027684" cy="513515"/>
          </a:xfrm>
          <a:prstGeom prst="wedgeEllipseCallout">
            <a:avLst>
              <a:gd name="adj1" fmla="val -27245"/>
              <a:gd name="adj2" fmla="val -82696"/>
            </a:avLst>
          </a:prstGeom>
          <a:solidFill>
            <a:srgbClr val="D2FA46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uting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BE0EB65D-6A93-4E6F-A368-5075D345BE8C}"/>
              </a:ext>
            </a:extLst>
          </p:cNvPr>
          <p:cNvSpPr/>
          <p:nvPr/>
        </p:nvSpPr>
        <p:spPr>
          <a:xfrm>
            <a:off x="8560729" y="4685679"/>
            <a:ext cx="3413760" cy="151529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>
                <a:solidFill>
                  <a:schemeClr val="accent1"/>
                </a:solidFill>
              </a:rPr>
              <a:t>Routing/Slot management</a:t>
            </a:r>
          </a:p>
          <a:p>
            <a:endParaRPr lang="en-US" sz="140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Place jobs on techs schedule to reduce re-rou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>
              <a:solidFill>
                <a:schemeClr val="tx1"/>
              </a:solidFill>
            </a:endParaRPr>
          </a:p>
          <a:p>
            <a:r>
              <a:rPr lang="en-US" sz="1200">
                <a:solidFill>
                  <a:schemeClr val="tx1"/>
                </a:solidFill>
              </a:rPr>
              <a:t>Impact: Increase completes per day</a:t>
            </a:r>
          </a:p>
          <a:p>
            <a:r>
              <a:rPr lang="en-US" sz="1200">
                <a:solidFill>
                  <a:schemeClr val="tx1"/>
                </a:solidFill>
              </a:rPr>
              <a:t>Stage: Ideation </a:t>
            </a: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89D132C5-3D93-44B3-8DA9-8A8DB292DF1A}"/>
              </a:ext>
            </a:extLst>
          </p:cNvPr>
          <p:cNvCxnSpPr/>
          <p:nvPr/>
        </p:nvCxnSpPr>
        <p:spPr>
          <a:xfrm>
            <a:off x="4405126" y="4685679"/>
            <a:ext cx="0" cy="1584960"/>
          </a:xfrm>
          <a:prstGeom prst="line">
            <a:avLst/>
          </a:prstGeom>
          <a:ln w="12700" cap="rnd">
            <a:solidFill>
              <a:schemeClr val="accent1">
                <a:lumMod val="20000"/>
                <a:lumOff val="80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794DF3FC-A425-4FF2-A5C4-B60F1BCBC4BB}"/>
              </a:ext>
            </a:extLst>
          </p:cNvPr>
          <p:cNvCxnSpPr/>
          <p:nvPr/>
        </p:nvCxnSpPr>
        <p:spPr>
          <a:xfrm>
            <a:off x="8260669" y="4685679"/>
            <a:ext cx="0" cy="1584960"/>
          </a:xfrm>
          <a:prstGeom prst="line">
            <a:avLst/>
          </a:prstGeom>
          <a:ln w="12700" cap="rnd">
            <a:solidFill>
              <a:schemeClr val="accent1">
                <a:lumMod val="20000"/>
                <a:lumOff val="80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Rectangle 67">
            <a:extLst>
              <a:ext uri="{FF2B5EF4-FFF2-40B4-BE49-F238E27FC236}">
                <a16:creationId xmlns:a16="http://schemas.microsoft.com/office/drawing/2014/main" id="{6CE0A303-8EA0-4331-BFD3-BA6BBB495118}"/>
              </a:ext>
            </a:extLst>
          </p:cNvPr>
          <p:cNvSpPr/>
          <p:nvPr/>
        </p:nvSpPr>
        <p:spPr>
          <a:xfrm>
            <a:off x="889071" y="4685679"/>
            <a:ext cx="3413760" cy="151529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>
                <a:solidFill>
                  <a:schemeClr val="accent1"/>
                </a:solidFill>
              </a:rPr>
              <a:t>Tech Zone Coverage</a:t>
            </a:r>
          </a:p>
          <a:p>
            <a:endParaRPr lang="en-US" sz="140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Establish better tech market cover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>
              <a:solidFill>
                <a:schemeClr val="tx1"/>
              </a:solidFill>
            </a:endParaRPr>
          </a:p>
          <a:p>
            <a:r>
              <a:rPr lang="en-US" sz="1200">
                <a:solidFill>
                  <a:schemeClr val="tx1"/>
                </a:solidFill>
              </a:rPr>
              <a:t>Impact: Increase completes per day</a:t>
            </a:r>
          </a:p>
          <a:p>
            <a:r>
              <a:rPr lang="en-US" sz="1200">
                <a:solidFill>
                  <a:schemeClr val="tx1"/>
                </a:solidFill>
              </a:rPr>
              <a:t>Stage: POC app ready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B3DD5DB-8B71-4662-9D79-E24117C57900}"/>
              </a:ext>
            </a:extLst>
          </p:cNvPr>
          <p:cNvSpPr/>
          <p:nvPr/>
        </p:nvSpPr>
        <p:spPr>
          <a:xfrm>
            <a:off x="4724900" y="4693956"/>
            <a:ext cx="3413760" cy="151529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>
                <a:solidFill>
                  <a:schemeClr val="accent1"/>
                </a:solidFill>
              </a:rPr>
              <a:t>Demand and Capacity</a:t>
            </a:r>
          </a:p>
          <a:p>
            <a:endParaRPr lang="en-US" sz="140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Balance lead-gen and demand to fully utilize capacity</a:t>
            </a:r>
          </a:p>
          <a:p>
            <a:endParaRPr lang="en-US" sz="1200">
              <a:solidFill>
                <a:schemeClr val="tx1"/>
              </a:solidFill>
            </a:endParaRPr>
          </a:p>
          <a:p>
            <a:r>
              <a:rPr lang="en-US" sz="1200">
                <a:solidFill>
                  <a:schemeClr val="tx1"/>
                </a:solidFill>
              </a:rPr>
              <a:t>Impact: Increase FTF and completes per day</a:t>
            </a:r>
          </a:p>
          <a:p>
            <a:r>
              <a:rPr lang="en-US" sz="1200">
                <a:solidFill>
                  <a:schemeClr val="tx1"/>
                </a:solidFill>
              </a:rPr>
              <a:t>Stage: POC WIP</a:t>
            </a:r>
          </a:p>
        </p:txBody>
      </p:sp>
    </p:spTree>
    <p:extLst>
      <p:ext uri="{BB962C8B-B14F-4D97-AF65-F5344CB8AC3E}">
        <p14:creationId xmlns:p14="http://schemas.microsoft.com/office/powerpoint/2010/main" val="2784501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E933ED5-8A53-1A41-8281-0B28B41DB6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orkstream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1EEF39-8EDA-9142-A5B9-1F1025F79C7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/>
              <a:t>Tech Radii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BF85D37-404C-5E47-952D-9356C67E97C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/>
              <a:t>Zone Optimiza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EE64DF8-81E4-084E-AAF0-B65E494070D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US"/>
              <a:t>Forecasting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25F3BAF-5B7B-7C43-94A9-AF2580EF4AF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/>
              <a:t>Route Management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B5307F5-105B-41F4-AA15-86FF7579158B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887052" y="603355"/>
            <a:ext cx="1468502" cy="1473209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5B60B264-2DAF-4B3D-AC96-F4F9C9C24F23}"/>
              </a:ext>
            </a:extLst>
          </p:cNvPr>
          <p:cNvPicPr>
            <a:picLocks noChangeAspect="1"/>
          </p:cNvPicPr>
          <p:nvPr/>
        </p:nvPicPr>
        <p:blipFill>
          <a:blip r:embed="rId5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9783" b="91304" l="9455" r="89455">
                        <a14:foregroundMark x1="28364" y1="67391" x2="29091" y2="90761"/>
                        <a14:foregroundMark x1="45091" y1="49457" x2="44000" y2="91304"/>
                        <a14:foregroundMark x1="58545" y1="90761" x2="58909" y2="61957"/>
                        <a14:foregroundMark x1="74909" y1="89130" x2="75636" y2="50000"/>
                        <a14:foregroundMark x1="65818" y1="9783" x2="76364" y2="9783"/>
                      </a14:backgroundRemoval>
                    </a14:imgEffect>
                    <a14:imgEffect>
                      <a14:artisticMarker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011852" y="1172373"/>
            <a:ext cx="1309688" cy="87630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DE575FAF-9017-4611-8566-DF298FDB7288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29018" y1="20089" x2="29018" y2="20089"/>
                        <a14:foregroundMark x1="37054" y1="20536" x2="37054" y2="20536"/>
                        <a14:foregroundMark x1="41964" y1="61161" x2="41964" y2="61161"/>
                        <a14:foregroundMark x1="46429" y1="62946" x2="46429" y2="62946"/>
                        <a14:foregroundMark x1="48214" y1="70089" x2="48214" y2="70089"/>
                        <a14:foregroundMark x1="40625" y1="75446" x2="40625" y2="75446"/>
                        <a14:foregroundMark x1="32143" y1="75446" x2="32143" y2="75446"/>
                        <a14:foregroundMark x1="25000" y1="62054" x2="25000" y2="62054"/>
                        <a14:foregroundMark x1="31250" y1="60268" x2="31250" y2="60268"/>
                        <a14:foregroundMark x1="25893" y1="75446" x2="25893" y2="75446"/>
                        <a14:foregroundMark x1="16964" y1="75893" x2="16964" y2="75893"/>
                        <a14:foregroundMark x1="10268" y1="79018" x2="10268" y2="79018"/>
                        <a14:foregroundMark x1="12054" y1="85268" x2="12054" y2="85268"/>
                        <a14:foregroundMark x1="22321" y1="89732" x2="22321" y2="89732"/>
                        <a14:foregroundMark x1="28571" y1="88839" x2="28571" y2="88839"/>
                        <a14:foregroundMark x1="35714" y1="88839" x2="35714" y2="88839"/>
                        <a14:foregroundMark x1="45536" y1="89732" x2="45536" y2="89732"/>
                        <a14:foregroundMark x1="54911" y1="88393" x2="54911" y2="88393"/>
                        <a14:foregroundMark x1="59375" y1="88839" x2="59375" y2="88839"/>
                        <a14:foregroundMark x1="68304" y1="88839" x2="68304" y2="88839"/>
                        <a14:foregroundMark x1="75000" y1="88839" x2="75000" y2="88839"/>
                        <a14:foregroundMark x1="75893" y1="57589" x2="75893" y2="57589"/>
                        <a14:backgroundMark x1="24107" y1="37054" x2="24107" y2="37054"/>
                        <a14:backgroundMark x1="75000" y1="66071" x2="75000" y2="66071"/>
                        <a14:backgroundMark x1="74554" y1="51339" x2="74554" y2="51339"/>
                        <a14:backgroundMark x1="78125" y1="73661" x2="78125" y2="7366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229273" y="4287159"/>
            <a:ext cx="924956" cy="924956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BB10084-9E54-47F0-A130-C383DBEB9A8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8439" b="92405" l="4695" r="94836">
                        <a14:foregroundMark x1="12676" y1="29114" x2="12676" y2="29114"/>
                        <a14:foregroundMark x1="88732" y1="10127" x2="88732" y2="10127"/>
                        <a14:foregroundMark x1="84977" y1="8439" x2="84977" y2="8439"/>
                        <a14:foregroundMark x1="73239" y1="9283" x2="73239" y2="9283"/>
                        <a14:foregroundMark x1="77934" y1="7595" x2="95305" y2="23207"/>
                        <a14:foregroundMark x1="95305" y1="23207" x2="95305" y2="23629"/>
                        <a14:foregroundMark x1="95305" y1="23629" x2="95305" y2="23629"/>
                        <a14:foregroundMark x1="72300" y1="71308" x2="72300" y2="71308"/>
                        <a14:foregroundMark x1="4695" y1="46835" x2="4695" y2="46835"/>
                        <a14:foregroundMark x1="85446" y1="92405" x2="85446" y2="9240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146217" y="4353956"/>
            <a:ext cx="771257" cy="858159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1BF1EDC2-3D00-481B-9424-EF093C06733D}"/>
              </a:ext>
            </a:extLst>
          </p:cNvPr>
          <p:cNvSpPr txBox="1"/>
          <p:nvPr/>
        </p:nvSpPr>
        <p:spPr>
          <a:xfrm>
            <a:off x="1674400" y="1471210"/>
            <a:ext cx="3556354" cy="4231928"/>
          </a:xfrm>
          <a:prstGeom prst="rect">
            <a:avLst/>
          </a:prstGeom>
          <a:noFill/>
        </p:spPr>
        <p:txBody>
          <a:bodyPr wrap="square" lIns="0" rIns="0" bIns="0" rtlCol="0">
            <a:spAutoFit/>
          </a:bodyPr>
          <a:lstStyle/>
          <a:p>
            <a:r>
              <a:rPr lang="en-US" sz="1600" b="1">
                <a:cs typeface="Georgia"/>
              </a:rPr>
              <a:t>Reduce excessive drive time </a:t>
            </a:r>
            <a:r>
              <a:rPr lang="en-US" sz="1600">
                <a:cs typeface="Georgia"/>
              </a:rPr>
              <a:t>and free up capacity</a:t>
            </a:r>
          </a:p>
          <a:p>
            <a:endParaRPr lang="en-US" sz="1600">
              <a:cs typeface="Georgia"/>
            </a:endParaRPr>
          </a:p>
          <a:p>
            <a:endParaRPr lang="en-US" sz="1600">
              <a:cs typeface="Georgia"/>
            </a:endParaRPr>
          </a:p>
          <a:p>
            <a:r>
              <a:rPr lang="en-US" sz="1600" b="1">
                <a:solidFill>
                  <a:schemeClr val="tx1"/>
                </a:solidFill>
              </a:rPr>
              <a:t>Estimate demand </a:t>
            </a:r>
            <a:r>
              <a:rPr lang="en-US" sz="1600">
                <a:solidFill>
                  <a:schemeClr val="tx1"/>
                </a:solidFill>
              </a:rPr>
              <a:t>and direct marketing spend to serve right customers in right markets</a:t>
            </a:r>
          </a:p>
          <a:p>
            <a:endParaRPr lang="en-US" sz="1600"/>
          </a:p>
          <a:p>
            <a:endParaRPr lang="en-US" sz="1600"/>
          </a:p>
          <a:p>
            <a:r>
              <a:rPr lang="en-US" sz="1600" b="1"/>
              <a:t>Increase overall capacity </a:t>
            </a:r>
            <a:r>
              <a:rPr lang="en-US" sz="1600"/>
              <a:t>to serve more customers based on dynamically changing demand</a:t>
            </a:r>
          </a:p>
          <a:p>
            <a:endParaRPr lang="en-US" sz="1600">
              <a:solidFill>
                <a:schemeClr val="tx1"/>
              </a:solidFill>
            </a:endParaRPr>
          </a:p>
          <a:p>
            <a:endParaRPr lang="en-US" sz="1600"/>
          </a:p>
          <a:p>
            <a:r>
              <a:rPr lang="en-US" sz="1600" b="1"/>
              <a:t>Serving customers </a:t>
            </a:r>
            <a:r>
              <a:rPr lang="en-US" sz="1600"/>
              <a:t>based on geospatial awareness and capacity</a:t>
            </a:r>
            <a:endParaRPr lang="en-US" sz="1600">
              <a:solidFill>
                <a:schemeClr val="tx1"/>
              </a:solidFill>
            </a:endParaRPr>
          </a:p>
          <a:p>
            <a:r>
              <a:rPr lang="en-US" sz="1600">
                <a:cs typeface="Georgia"/>
              </a:rPr>
              <a:t> </a:t>
            </a:r>
            <a:endParaRPr lang="en-US">
              <a:cs typeface="Georgia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BC7745C-AA54-9D2A-F327-0B4E0E900F5C}"/>
              </a:ext>
            </a:extLst>
          </p:cNvPr>
          <p:cNvPicPr>
            <a:picLocks noChangeAspect="1"/>
          </p:cNvPicPr>
          <p:nvPr/>
        </p:nvPicPr>
        <p:blipFill>
          <a:blip r:embed="rId7">
            <a:grayscl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29018" y1="20089" x2="29018" y2="20089"/>
                        <a14:foregroundMark x1="37054" y1="20536" x2="37054" y2="20536"/>
                        <a14:foregroundMark x1="41964" y1="61161" x2="41964" y2="61161"/>
                        <a14:foregroundMark x1="46429" y1="62946" x2="46429" y2="62946"/>
                        <a14:foregroundMark x1="48214" y1="70089" x2="48214" y2="70089"/>
                        <a14:foregroundMark x1="40625" y1="75446" x2="40625" y2="75446"/>
                        <a14:foregroundMark x1="32143" y1="75446" x2="32143" y2="75446"/>
                        <a14:foregroundMark x1="25000" y1="62054" x2="25000" y2="62054"/>
                        <a14:foregroundMark x1="31250" y1="60268" x2="31250" y2="60268"/>
                        <a14:foregroundMark x1="25893" y1="75446" x2="25893" y2="75446"/>
                        <a14:foregroundMark x1="16964" y1="75893" x2="16964" y2="75893"/>
                        <a14:foregroundMark x1="10268" y1="79018" x2="10268" y2="79018"/>
                        <a14:foregroundMark x1="12054" y1="85268" x2="12054" y2="85268"/>
                        <a14:foregroundMark x1="22321" y1="89732" x2="22321" y2="89732"/>
                        <a14:foregroundMark x1="28571" y1="88839" x2="28571" y2="88839"/>
                        <a14:foregroundMark x1="35714" y1="88839" x2="35714" y2="88839"/>
                        <a14:foregroundMark x1="45536" y1="89732" x2="45536" y2="89732"/>
                        <a14:foregroundMark x1="54911" y1="88393" x2="54911" y2="88393"/>
                        <a14:foregroundMark x1="59375" y1="88839" x2="59375" y2="88839"/>
                        <a14:foregroundMark x1="68304" y1="88839" x2="68304" y2="88839"/>
                        <a14:foregroundMark x1="75000" y1="88839" x2="75000" y2="88839"/>
                        <a14:foregroundMark x1="75893" y1="57589" x2="75893" y2="57589"/>
                        <a14:backgroundMark x1="24107" y1="37054" x2="24107" y2="37054"/>
                        <a14:backgroundMark x1="75000" y1="66071" x2="75000" y2="66071"/>
                        <a14:backgroundMark x1="74554" y1="51339" x2="74554" y2="51339"/>
                        <a14:backgroundMark x1="78125" y1="73661" x2="78125" y2="7366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44615" y="4808857"/>
            <a:ext cx="575599" cy="57559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7E8108C-C2DC-FC20-CA9A-328C6E13716E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8439" b="92405" l="4695" r="94836">
                        <a14:foregroundMark x1="12676" y1="29114" x2="12676" y2="29114"/>
                        <a14:foregroundMark x1="88732" y1="10127" x2="88732" y2="10127"/>
                        <a14:foregroundMark x1="84977" y1="8439" x2="84977" y2="8439"/>
                        <a14:foregroundMark x1="73239" y1="9283" x2="73239" y2="9283"/>
                        <a14:foregroundMark x1="77934" y1="7595" x2="95305" y2="23207"/>
                        <a14:foregroundMark x1="95305" y1="23207" x2="95305" y2="23629"/>
                        <a14:foregroundMark x1="95305" y1="23629" x2="95305" y2="23629"/>
                        <a14:foregroundMark x1="72300" y1="71308" x2="72300" y2="71308"/>
                        <a14:foregroundMark x1="4695" y1="46835" x2="4695" y2="46835"/>
                        <a14:foregroundMark x1="85446" y1="92405" x2="85446" y2="9240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01778" y="3768295"/>
            <a:ext cx="441459" cy="49120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FBEE35F-3489-6202-C859-7A20124DF3C4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9783" b="91304" l="9455" r="89455">
                        <a14:foregroundMark x1="28364" y1="67391" x2="29091" y2="90761"/>
                        <a14:foregroundMark x1="45091" y1="49457" x2="44000" y2="91304"/>
                        <a14:foregroundMark x1="58545" y1="90761" x2="58909" y2="61957"/>
                        <a14:foregroundMark x1="74909" y1="89130" x2="75636" y2="50000"/>
                        <a14:foregroundMark x1="65818" y1="9783" x2="76364" y2="978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92582" y="2630137"/>
            <a:ext cx="670207" cy="44842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2548AF7-8F95-738F-D7D4-42569D0B43EC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93136" y="1379245"/>
            <a:ext cx="695090" cy="697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84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01FEEE-F588-B74E-9037-CF27097311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  <a:r>
              <a:rPr lang="en-US"/>
              <a:t>: MAZO App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7B3A638-0BC7-C843-8D8A-D817857F4875}"/>
              </a:ext>
            </a:extLst>
          </p:cNvPr>
          <p:cNvSpPr txBox="1"/>
          <p:nvPr/>
        </p:nvSpPr>
        <p:spPr>
          <a:xfrm>
            <a:off x="3857549" y="2665650"/>
            <a:ext cx="3620607" cy="292388"/>
          </a:xfrm>
          <a:prstGeom prst="rect">
            <a:avLst/>
          </a:prstGeom>
          <a:noFill/>
        </p:spPr>
        <p:txBody>
          <a:bodyPr wrap="none" lIns="0" rIns="0" bIns="0" rtlCol="0">
            <a:spAutoFit/>
          </a:bodyPr>
          <a:lstStyle/>
          <a:p>
            <a:r>
              <a:rPr lang="en-US" sz="1600">
                <a:cs typeface="Georgia"/>
                <a:hlinkClick r:id="rId2"/>
              </a:rPr>
              <a:t>http://mazo.dsc.npr.aws.asurion.net:8501/</a:t>
            </a:r>
            <a:r>
              <a:rPr lang="en-US" sz="1600">
                <a:cs typeface="Georgi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83690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A7E1D4-31B4-894A-BD06-C7F3027704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PIs Impacted </a:t>
            </a:r>
            <a:r>
              <a:rPr lang="en-US" sz="3200"/>
              <a:t>(March YTD)</a:t>
            </a:r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323BAC0-DD78-4CF4-AD86-1EB0DBCBA448}"/>
              </a:ext>
            </a:extLst>
          </p:cNvPr>
          <p:cNvGrpSpPr/>
          <p:nvPr/>
        </p:nvGrpSpPr>
        <p:grpSpPr>
          <a:xfrm>
            <a:off x="2373006" y="1727570"/>
            <a:ext cx="2325787" cy="2025570"/>
            <a:chOff x="2403329" y="1541973"/>
            <a:chExt cx="2325787" cy="2025570"/>
          </a:xfrm>
        </p:grpSpPr>
        <p:sp>
          <p:nvSpPr>
            <p:cNvPr id="25" name="Oval 12">
              <a:extLst>
                <a:ext uri="{FF2B5EF4-FFF2-40B4-BE49-F238E27FC236}">
                  <a16:creationId xmlns:a16="http://schemas.microsoft.com/office/drawing/2014/main" id="{CE424A76-B083-4AB2-A9A0-3361B4E053DC}"/>
                </a:ext>
              </a:extLst>
            </p:cNvPr>
            <p:cNvSpPr/>
            <p:nvPr/>
          </p:nvSpPr>
          <p:spPr>
            <a:xfrm rot="171495">
              <a:off x="2403329" y="1541973"/>
              <a:ext cx="2325787" cy="2025570"/>
            </a:xfrm>
            <a:custGeom>
              <a:avLst/>
              <a:gdLst>
                <a:gd name="connsiteX0" fmla="*/ 0 w 2466109"/>
                <a:gd name="connsiteY0" fmla="*/ 1168977 h 2337954"/>
                <a:gd name="connsiteX1" fmla="*/ 1233055 w 2466109"/>
                <a:gd name="connsiteY1" fmla="*/ 0 h 2337954"/>
                <a:gd name="connsiteX2" fmla="*/ 2466110 w 2466109"/>
                <a:gd name="connsiteY2" fmla="*/ 1168977 h 2337954"/>
                <a:gd name="connsiteX3" fmla="*/ 1233055 w 2466109"/>
                <a:gd name="connsiteY3" fmla="*/ 2337954 h 2337954"/>
                <a:gd name="connsiteX4" fmla="*/ 0 w 2466109"/>
                <a:gd name="connsiteY4" fmla="*/ 1168977 h 2337954"/>
                <a:gd name="connsiteX0" fmla="*/ 306 w 2466416"/>
                <a:gd name="connsiteY0" fmla="*/ 1205922 h 2374899"/>
                <a:gd name="connsiteX1" fmla="*/ 1325725 w 2466416"/>
                <a:gd name="connsiteY1" fmla="*/ 0 h 2374899"/>
                <a:gd name="connsiteX2" fmla="*/ 2466416 w 2466416"/>
                <a:gd name="connsiteY2" fmla="*/ 1205922 h 2374899"/>
                <a:gd name="connsiteX3" fmla="*/ 1233361 w 2466416"/>
                <a:gd name="connsiteY3" fmla="*/ 2374899 h 2374899"/>
                <a:gd name="connsiteX4" fmla="*/ 306 w 2466416"/>
                <a:gd name="connsiteY4" fmla="*/ 1205922 h 2374899"/>
                <a:gd name="connsiteX0" fmla="*/ 200 w 2512492"/>
                <a:gd name="connsiteY0" fmla="*/ 1242917 h 2374986"/>
                <a:gd name="connsiteX1" fmla="*/ 1371801 w 2512492"/>
                <a:gd name="connsiteY1" fmla="*/ 49 h 2374986"/>
                <a:gd name="connsiteX2" fmla="*/ 2512492 w 2512492"/>
                <a:gd name="connsiteY2" fmla="*/ 1205971 h 2374986"/>
                <a:gd name="connsiteX3" fmla="*/ 1279437 w 2512492"/>
                <a:gd name="connsiteY3" fmla="*/ 2374948 h 2374986"/>
                <a:gd name="connsiteX4" fmla="*/ 200 w 2512492"/>
                <a:gd name="connsiteY4" fmla="*/ 1242917 h 2374986"/>
                <a:gd name="connsiteX0" fmla="*/ 196 w 2530960"/>
                <a:gd name="connsiteY0" fmla="*/ 1270727 h 2375168"/>
                <a:gd name="connsiteX1" fmla="*/ 1390269 w 2530960"/>
                <a:gd name="connsiteY1" fmla="*/ 150 h 2375168"/>
                <a:gd name="connsiteX2" fmla="*/ 2530960 w 2530960"/>
                <a:gd name="connsiteY2" fmla="*/ 1206072 h 2375168"/>
                <a:gd name="connsiteX3" fmla="*/ 1297905 w 2530960"/>
                <a:gd name="connsiteY3" fmla="*/ 2375049 h 2375168"/>
                <a:gd name="connsiteX4" fmla="*/ 196 w 2530960"/>
                <a:gd name="connsiteY4" fmla="*/ 1270727 h 2375168"/>
                <a:gd name="connsiteX0" fmla="*/ 6562 w 2537326"/>
                <a:gd name="connsiteY0" fmla="*/ 1270727 h 2172004"/>
                <a:gd name="connsiteX1" fmla="*/ 1396635 w 2537326"/>
                <a:gd name="connsiteY1" fmla="*/ 150 h 2172004"/>
                <a:gd name="connsiteX2" fmla="*/ 2537326 w 2537326"/>
                <a:gd name="connsiteY2" fmla="*/ 1206072 h 2172004"/>
                <a:gd name="connsiteX3" fmla="*/ 944053 w 2537326"/>
                <a:gd name="connsiteY3" fmla="*/ 2171849 h 2172004"/>
                <a:gd name="connsiteX4" fmla="*/ 6562 w 2537326"/>
                <a:gd name="connsiteY4" fmla="*/ 1270727 h 2172004"/>
                <a:gd name="connsiteX0" fmla="*/ 6331 w 2389313"/>
                <a:gd name="connsiteY0" fmla="*/ 1270806 h 2173048"/>
                <a:gd name="connsiteX1" fmla="*/ 1396404 w 2389313"/>
                <a:gd name="connsiteY1" fmla="*/ 229 h 2173048"/>
                <a:gd name="connsiteX2" fmla="*/ 2389313 w 2389313"/>
                <a:gd name="connsiteY2" fmla="*/ 1372406 h 2173048"/>
                <a:gd name="connsiteX3" fmla="*/ 943822 w 2389313"/>
                <a:gd name="connsiteY3" fmla="*/ 2171928 h 2173048"/>
                <a:gd name="connsiteX4" fmla="*/ 6331 w 2389313"/>
                <a:gd name="connsiteY4" fmla="*/ 1270806 h 2173048"/>
                <a:gd name="connsiteX0" fmla="*/ 6654 w 2389636"/>
                <a:gd name="connsiteY0" fmla="*/ 1270806 h 2163864"/>
                <a:gd name="connsiteX1" fmla="*/ 1396727 w 2389636"/>
                <a:gd name="connsiteY1" fmla="*/ 229 h 2163864"/>
                <a:gd name="connsiteX2" fmla="*/ 2389636 w 2389636"/>
                <a:gd name="connsiteY2" fmla="*/ 1372406 h 2163864"/>
                <a:gd name="connsiteX3" fmla="*/ 934908 w 2389636"/>
                <a:gd name="connsiteY3" fmla="*/ 2162691 h 2163864"/>
                <a:gd name="connsiteX4" fmla="*/ 6654 w 2389636"/>
                <a:gd name="connsiteY4" fmla="*/ 1270806 h 2163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9636" h="2163864">
                  <a:moveTo>
                    <a:pt x="6654" y="1270806"/>
                  </a:moveTo>
                  <a:cubicBezTo>
                    <a:pt x="83624" y="910396"/>
                    <a:pt x="999563" y="-16704"/>
                    <a:pt x="1396727" y="229"/>
                  </a:cubicBezTo>
                  <a:cubicBezTo>
                    <a:pt x="1793891" y="17162"/>
                    <a:pt x="2389636" y="726798"/>
                    <a:pt x="2389636" y="1372406"/>
                  </a:cubicBezTo>
                  <a:cubicBezTo>
                    <a:pt x="2389636" y="2018014"/>
                    <a:pt x="1332072" y="2179624"/>
                    <a:pt x="934908" y="2162691"/>
                  </a:cubicBezTo>
                  <a:cubicBezTo>
                    <a:pt x="537744" y="2145758"/>
                    <a:pt x="-70316" y="1631216"/>
                    <a:pt x="6654" y="1270806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BBA2B9F-2741-4B5D-8357-2109382AD1F3}"/>
                </a:ext>
              </a:extLst>
            </p:cNvPr>
            <p:cNvSpPr txBox="1"/>
            <p:nvPr/>
          </p:nvSpPr>
          <p:spPr>
            <a:xfrm>
              <a:off x="3157680" y="1972922"/>
              <a:ext cx="1054929" cy="87716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rIns="0" bIns="0" rtlCol="0">
              <a:spAutoFit/>
            </a:bodyPr>
            <a:lstStyle/>
            <a:p>
              <a:pPr algn="l"/>
              <a:r>
                <a:rPr lang="en-US" sz="5400">
                  <a:solidFill>
                    <a:schemeClr val="accent1"/>
                  </a:solidFill>
                  <a:latin typeface="Comic Sans MS" panose="030F0702030302020204" pitchFamily="66" charset="0"/>
                  <a:cs typeface="Georgia"/>
                </a:rPr>
                <a:t>2.2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1F5D609-6B3E-43EF-A1C8-1C8FAF8238DF}"/>
                </a:ext>
              </a:extLst>
            </p:cNvPr>
            <p:cNvSpPr txBox="1"/>
            <p:nvPr/>
          </p:nvSpPr>
          <p:spPr>
            <a:xfrm>
              <a:off x="2954095" y="2850085"/>
              <a:ext cx="1462098" cy="4770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rIns="0" bIns="0" rtlCol="0">
              <a:spAutoFit/>
            </a:bodyPr>
            <a:lstStyle/>
            <a:p>
              <a:pPr algn="ctr"/>
              <a:r>
                <a:rPr lang="en-US" sz="1400"/>
                <a:t>Completes per tech per day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DD70829-AA8F-48DB-BDF0-DC81E8660A03}"/>
              </a:ext>
            </a:extLst>
          </p:cNvPr>
          <p:cNvGrpSpPr/>
          <p:nvPr/>
        </p:nvGrpSpPr>
        <p:grpSpPr>
          <a:xfrm>
            <a:off x="7176874" y="1670842"/>
            <a:ext cx="2325787" cy="2025570"/>
            <a:chOff x="7378757" y="1541973"/>
            <a:chExt cx="2325787" cy="2025570"/>
          </a:xfrm>
        </p:grpSpPr>
        <p:sp>
          <p:nvSpPr>
            <p:cNvPr id="24" name="Oval 12">
              <a:extLst>
                <a:ext uri="{FF2B5EF4-FFF2-40B4-BE49-F238E27FC236}">
                  <a16:creationId xmlns:a16="http://schemas.microsoft.com/office/drawing/2014/main" id="{CB282372-A57A-4867-91C1-24192057D848}"/>
                </a:ext>
              </a:extLst>
            </p:cNvPr>
            <p:cNvSpPr/>
            <p:nvPr/>
          </p:nvSpPr>
          <p:spPr>
            <a:xfrm rot="171495">
              <a:off x="7378757" y="1541973"/>
              <a:ext cx="2325787" cy="2025570"/>
            </a:xfrm>
            <a:custGeom>
              <a:avLst/>
              <a:gdLst>
                <a:gd name="connsiteX0" fmla="*/ 0 w 2466109"/>
                <a:gd name="connsiteY0" fmla="*/ 1168977 h 2337954"/>
                <a:gd name="connsiteX1" fmla="*/ 1233055 w 2466109"/>
                <a:gd name="connsiteY1" fmla="*/ 0 h 2337954"/>
                <a:gd name="connsiteX2" fmla="*/ 2466110 w 2466109"/>
                <a:gd name="connsiteY2" fmla="*/ 1168977 h 2337954"/>
                <a:gd name="connsiteX3" fmla="*/ 1233055 w 2466109"/>
                <a:gd name="connsiteY3" fmla="*/ 2337954 h 2337954"/>
                <a:gd name="connsiteX4" fmla="*/ 0 w 2466109"/>
                <a:gd name="connsiteY4" fmla="*/ 1168977 h 2337954"/>
                <a:gd name="connsiteX0" fmla="*/ 306 w 2466416"/>
                <a:gd name="connsiteY0" fmla="*/ 1205922 h 2374899"/>
                <a:gd name="connsiteX1" fmla="*/ 1325725 w 2466416"/>
                <a:gd name="connsiteY1" fmla="*/ 0 h 2374899"/>
                <a:gd name="connsiteX2" fmla="*/ 2466416 w 2466416"/>
                <a:gd name="connsiteY2" fmla="*/ 1205922 h 2374899"/>
                <a:gd name="connsiteX3" fmla="*/ 1233361 w 2466416"/>
                <a:gd name="connsiteY3" fmla="*/ 2374899 h 2374899"/>
                <a:gd name="connsiteX4" fmla="*/ 306 w 2466416"/>
                <a:gd name="connsiteY4" fmla="*/ 1205922 h 2374899"/>
                <a:gd name="connsiteX0" fmla="*/ 200 w 2512492"/>
                <a:gd name="connsiteY0" fmla="*/ 1242917 h 2374986"/>
                <a:gd name="connsiteX1" fmla="*/ 1371801 w 2512492"/>
                <a:gd name="connsiteY1" fmla="*/ 49 h 2374986"/>
                <a:gd name="connsiteX2" fmla="*/ 2512492 w 2512492"/>
                <a:gd name="connsiteY2" fmla="*/ 1205971 h 2374986"/>
                <a:gd name="connsiteX3" fmla="*/ 1279437 w 2512492"/>
                <a:gd name="connsiteY3" fmla="*/ 2374948 h 2374986"/>
                <a:gd name="connsiteX4" fmla="*/ 200 w 2512492"/>
                <a:gd name="connsiteY4" fmla="*/ 1242917 h 2374986"/>
                <a:gd name="connsiteX0" fmla="*/ 196 w 2530960"/>
                <a:gd name="connsiteY0" fmla="*/ 1270727 h 2375168"/>
                <a:gd name="connsiteX1" fmla="*/ 1390269 w 2530960"/>
                <a:gd name="connsiteY1" fmla="*/ 150 h 2375168"/>
                <a:gd name="connsiteX2" fmla="*/ 2530960 w 2530960"/>
                <a:gd name="connsiteY2" fmla="*/ 1206072 h 2375168"/>
                <a:gd name="connsiteX3" fmla="*/ 1297905 w 2530960"/>
                <a:gd name="connsiteY3" fmla="*/ 2375049 h 2375168"/>
                <a:gd name="connsiteX4" fmla="*/ 196 w 2530960"/>
                <a:gd name="connsiteY4" fmla="*/ 1270727 h 2375168"/>
                <a:gd name="connsiteX0" fmla="*/ 6562 w 2537326"/>
                <a:gd name="connsiteY0" fmla="*/ 1270727 h 2172004"/>
                <a:gd name="connsiteX1" fmla="*/ 1396635 w 2537326"/>
                <a:gd name="connsiteY1" fmla="*/ 150 h 2172004"/>
                <a:gd name="connsiteX2" fmla="*/ 2537326 w 2537326"/>
                <a:gd name="connsiteY2" fmla="*/ 1206072 h 2172004"/>
                <a:gd name="connsiteX3" fmla="*/ 944053 w 2537326"/>
                <a:gd name="connsiteY3" fmla="*/ 2171849 h 2172004"/>
                <a:gd name="connsiteX4" fmla="*/ 6562 w 2537326"/>
                <a:gd name="connsiteY4" fmla="*/ 1270727 h 2172004"/>
                <a:gd name="connsiteX0" fmla="*/ 6331 w 2389313"/>
                <a:gd name="connsiteY0" fmla="*/ 1270806 h 2173048"/>
                <a:gd name="connsiteX1" fmla="*/ 1396404 w 2389313"/>
                <a:gd name="connsiteY1" fmla="*/ 229 h 2173048"/>
                <a:gd name="connsiteX2" fmla="*/ 2389313 w 2389313"/>
                <a:gd name="connsiteY2" fmla="*/ 1372406 h 2173048"/>
                <a:gd name="connsiteX3" fmla="*/ 943822 w 2389313"/>
                <a:gd name="connsiteY3" fmla="*/ 2171928 h 2173048"/>
                <a:gd name="connsiteX4" fmla="*/ 6331 w 2389313"/>
                <a:gd name="connsiteY4" fmla="*/ 1270806 h 2173048"/>
                <a:gd name="connsiteX0" fmla="*/ 6654 w 2389636"/>
                <a:gd name="connsiteY0" fmla="*/ 1270806 h 2163864"/>
                <a:gd name="connsiteX1" fmla="*/ 1396727 w 2389636"/>
                <a:gd name="connsiteY1" fmla="*/ 229 h 2163864"/>
                <a:gd name="connsiteX2" fmla="*/ 2389636 w 2389636"/>
                <a:gd name="connsiteY2" fmla="*/ 1372406 h 2163864"/>
                <a:gd name="connsiteX3" fmla="*/ 934908 w 2389636"/>
                <a:gd name="connsiteY3" fmla="*/ 2162691 h 2163864"/>
                <a:gd name="connsiteX4" fmla="*/ 6654 w 2389636"/>
                <a:gd name="connsiteY4" fmla="*/ 1270806 h 2163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9636" h="2163864">
                  <a:moveTo>
                    <a:pt x="6654" y="1270806"/>
                  </a:moveTo>
                  <a:cubicBezTo>
                    <a:pt x="83624" y="910396"/>
                    <a:pt x="999563" y="-16704"/>
                    <a:pt x="1396727" y="229"/>
                  </a:cubicBezTo>
                  <a:cubicBezTo>
                    <a:pt x="1793891" y="17162"/>
                    <a:pt x="2389636" y="726798"/>
                    <a:pt x="2389636" y="1372406"/>
                  </a:cubicBezTo>
                  <a:cubicBezTo>
                    <a:pt x="2389636" y="2018014"/>
                    <a:pt x="1332072" y="2179624"/>
                    <a:pt x="934908" y="2162691"/>
                  </a:cubicBezTo>
                  <a:cubicBezTo>
                    <a:pt x="537744" y="2145758"/>
                    <a:pt x="-70316" y="1631216"/>
                    <a:pt x="6654" y="1270806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581BA7B-E666-4BB8-A546-210D212D3618}"/>
                </a:ext>
              </a:extLst>
            </p:cNvPr>
            <p:cNvSpPr txBox="1"/>
            <p:nvPr/>
          </p:nvSpPr>
          <p:spPr>
            <a:xfrm>
              <a:off x="7922126" y="2065255"/>
              <a:ext cx="1507759" cy="78483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rIns="0" bIns="0" rtlCol="0">
              <a:spAutoFit/>
            </a:bodyPr>
            <a:lstStyle/>
            <a:p>
              <a:pPr algn="l"/>
              <a:r>
                <a:rPr lang="en-US" sz="4800">
                  <a:solidFill>
                    <a:schemeClr val="accent1"/>
                  </a:solidFill>
                  <a:latin typeface="Comic Sans MS" panose="030F0702030302020204" pitchFamily="66" charset="0"/>
                  <a:cs typeface="Georgia"/>
                </a:rPr>
                <a:t>$182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9253172-4A59-4708-99F3-668AE3910D2A}"/>
                </a:ext>
              </a:extLst>
            </p:cNvPr>
            <p:cNvSpPr txBox="1"/>
            <p:nvPr/>
          </p:nvSpPr>
          <p:spPr>
            <a:xfrm>
              <a:off x="7817486" y="2952484"/>
              <a:ext cx="1620444" cy="4770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rIns="0" bIns="0" rtlCol="0">
              <a:spAutoFit/>
            </a:bodyPr>
            <a:lstStyle/>
            <a:p>
              <a:pPr algn="ctr"/>
              <a:r>
                <a:rPr lang="en-US" sz="1400"/>
                <a:t>Customer acquisition cost</a:t>
              </a:r>
            </a:p>
          </p:txBody>
        </p:sp>
      </p:grp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EA81EDA8-5325-4D5C-89AC-7B298088502C}"/>
              </a:ext>
            </a:extLst>
          </p:cNvPr>
          <p:cNvCxnSpPr/>
          <p:nvPr/>
        </p:nvCxnSpPr>
        <p:spPr>
          <a:xfrm>
            <a:off x="2111911" y="4064578"/>
            <a:ext cx="3095625" cy="0"/>
          </a:xfrm>
          <a:prstGeom prst="line">
            <a:avLst/>
          </a:prstGeom>
          <a:ln w="19050" cap="rnd"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E8E14BDF-02BF-4990-8A8A-0DD8AA7C3EA8}"/>
              </a:ext>
            </a:extLst>
          </p:cNvPr>
          <p:cNvSpPr txBox="1"/>
          <p:nvPr/>
        </p:nvSpPr>
        <p:spPr>
          <a:xfrm>
            <a:off x="2232736" y="4217260"/>
            <a:ext cx="2606324" cy="538609"/>
          </a:xfrm>
          <a:prstGeom prst="rect">
            <a:avLst/>
          </a:prstGeom>
          <a:noFill/>
        </p:spPr>
        <p:txBody>
          <a:bodyPr wrap="square" lIns="0" rIns="0" bIns="0" rtlCol="0">
            <a:spAutoFit/>
          </a:bodyPr>
          <a:lstStyle/>
          <a:p>
            <a:pPr algn="ctr"/>
            <a:r>
              <a:rPr lang="en-US" sz="1600" b="1">
                <a:cs typeface="Georgia"/>
              </a:rPr>
              <a:t>Goal 2022: </a:t>
            </a:r>
          </a:p>
          <a:p>
            <a:pPr algn="ctr"/>
            <a:r>
              <a:rPr lang="en-US" sz="1600">
                <a:cs typeface="Georgia"/>
              </a:rPr>
              <a:t>5 completes per tech per day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C494B7B2-00D7-45C4-9A79-91F4E3BE8BE8}"/>
              </a:ext>
            </a:extLst>
          </p:cNvPr>
          <p:cNvCxnSpPr/>
          <p:nvPr/>
        </p:nvCxnSpPr>
        <p:spPr>
          <a:xfrm>
            <a:off x="6824569" y="4064578"/>
            <a:ext cx="3095625" cy="0"/>
          </a:xfrm>
          <a:prstGeom prst="line">
            <a:avLst/>
          </a:prstGeom>
          <a:ln w="19050" cap="rnd"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7DF8A731-1DC0-48B6-8C9C-27F93809B3B3}"/>
              </a:ext>
            </a:extLst>
          </p:cNvPr>
          <p:cNvSpPr txBox="1"/>
          <p:nvPr/>
        </p:nvSpPr>
        <p:spPr>
          <a:xfrm>
            <a:off x="6945394" y="4217260"/>
            <a:ext cx="2606324" cy="538609"/>
          </a:xfrm>
          <a:prstGeom prst="rect">
            <a:avLst/>
          </a:prstGeom>
          <a:noFill/>
        </p:spPr>
        <p:txBody>
          <a:bodyPr wrap="square" lIns="0" rIns="0" bIns="0" rtlCol="0">
            <a:spAutoFit/>
          </a:bodyPr>
          <a:lstStyle/>
          <a:p>
            <a:pPr algn="ctr"/>
            <a:r>
              <a:rPr lang="en-US" sz="1600" b="1">
                <a:cs typeface="Georgia"/>
              </a:rPr>
              <a:t>Goal 2022: </a:t>
            </a:r>
          </a:p>
          <a:p>
            <a:pPr algn="ctr"/>
            <a:r>
              <a:rPr lang="en-US" sz="1600">
                <a:cs typeface="Georgia"/>
              </a:rPr>
              <a:t>$60 Marketing CAC</a:t>
            </a:r>
          </a:p>
        </p:txBody>
      </p:sp>
    </p:spTree>
    <p:extLst>
      <p:ext uri="{BB962C8B-B14F-4D97-AF65-F5344CB8AC3E}">
        <p14:creationId xmlns:p14="http://schemas.microsoft.com/office/powerpoint/2010/main" val="550677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A7E1D4-31B4-894A-BD06-C7F3027704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PIs Impacted - Completes per tech per day 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323BAC0-DD78-4CF4-AD86-1EB0DBCBA448}"/>
              </a:ext>
            </a:extLst>
          </p:cNvPr>
          <p:cNvGrpSpPr/>
          <p:nvPr/>
        </p:nvGrpSpPr>
        <p:grpSpPr>
          <a:xfrm>
            <a:off x="2449495" y="1520617"/>
            <a:ext cx="2325787" cy="2025570"/>
            <a:chOff x="2403329" y="1541973"/>
            <a:chExt cx="2325787" cy="2025570"/>
          </a:xfrm>
          <a:noFill/>
        </p:grpSpPr>
        <p:sp>
          <p:nvSpPr>
            <p:cNvPr id="25" name="Oval 12">
              <a:extLst>
                <a:ext uri="{FF2B5EF4-FFF2-40B4-BE49-F238E27FC236}">
                  <a16:creationId xmlns:a16="http://schemas.microsoft.com/office/drawing/2014/main" id="{CE424A76-B083-4AB2-A9A0-3361B4E053DC}"/>
                </a:ext>
              </a:extLst>
            </p:cNvPr>
            <p:cNvSpPr/>
            <p:nvPr/>
          </p:nvSpPr>
          <p:spPr>
            <a:xfrm rot="171495">
              <a:off x="2403329" y="1541973"/>
              <a:ext cx="2325787" cy="2025570"/>
            </a:xfrm>
            <a:custGeom>
              <a:avLst/>
              <a:gdLst>
                <a:gd name="connsiteX0" fmla="*/ 0 w 2466109"/>
                <a:gd name="connsiteY0" fmla="*/ 1168977 h 2337954"/>
                <a:gd name="connsiteX1" fmla="*/ 1233055 w 2466109"/>
                <a:gd name="connsiteY1" fmla="*/ 0 h 2337954"/>
                <a:gd name="connsiteX2" fmla="*/ 2466110 w 2466109"/>
                <a:gd name="connsiteY2" fmla="*/ 1168977 h 2337954"/>
                <a:gd name="connsiteX3" fmla="*/ 1233055 w 2466109"/>
                <a:gd name="connsiteY3" fmla="*/ 2337954 h 2337954"/>
                <a:gd name="connsiteX4" fmla="*/ 0 w 2466109"/>
                <a:gd name="connsiteY4" fmla="*/ 1168977 h 2337954"/>
                <a:gd name="connsiteX0" fmla="*/ 306 w 2466416"/>
                <a:gd name="connsiteY0" fmla="*/ 1205922 h 2374899"/>
                <a:gd name="connsiteX1" fmla="*/ 1325725 w 2466416"/>
                <a:gd name="connsiteY1" fmla="*/ 0 h 2374899"/>
                <a:gd name="connsiteX2" fmla="*/ 2466416 w 2466416"/>
                <a:gd name="connsiteY2" fmla="*/ 1205922 h 2374899"/>
                <a:gd name="connsiteX3" fmla="*/ 1233361 w 2466416"/>
                <a:gd name="connsiteY3" fmla="*/ 2374899 h 2374899"/>
                <a:gd name="connsiteX4" fmla="*/ 306 w 2466416"/>
                <a:gd name="connsiteY4" fmla="*/ 1205922 h 2374899"/>
                <a:gd name="connsiteX0" fmla="*/ 200 w 2512492"/>
                <a:gd name="connsiteY0" fmla="*/ 1242917 h 2374986"/>
                <a:gd name="connsiteX1" fmla="*/ 1371801 w 2512492"/>
                <a:gd name="connsiteY1" fmla="*/ 49 h 2374986"/>
                <a:gd name="connsiteX2" fmla="*/ 2512492 w 2512492"/>
                <a:gd name="connsiteY2" fmla="*/ 1205971 h 2374986"/>
                <a:gd name="connsiteX3" fmla="*/ 1279437 w 2512492"/>
                <a:gd name="connsiteY3" fmla="*/ 2374948 h 2374986"/>
                <a:gd name="connsiteX4" fmla="*/ 200 w 2512492"/>
                <a:gd name="connsiteY4" fmla="*/ 1242917 h 2374986"/>
                <a:gd name="connsiteX0" fmla="*/ 196 w 2530960"/>
                <a:gd name="connsiteY0" fmla="*/ 1270727 h 2375168"/>
                <a:gd name="connsiteX1" fmla="*/ 1390269 w 2530960"/>
                <a:gd name="connsiteY1" fmla="*/ 150 h 2375168"/>
                <a:gd name="connsiteX2" fmla="*/ 2530960 w 2530960"/>
                <a:gd name="connsiteY2" fmla="*/ 1206072 h 2375168"/>
                <a:gd name="connsiteX3" fmla="*/ 1297905 w 2530960"/>
                <a:gd name="connsiteY3" fmla="*/ 2375049 h 2375168"/>
                <a:gd name="connsiteX4" fmla="*/ 196 w 2530960"/>
                <a:gd name="connsiteY4" fmla="*/ 1270727 h 2375168"/>
                <a:gd name="connsiteX0" fmla="*/ 6562 w 2537326"/>
                <a:gd name="connsiteY0" fmla="*/ 1270727 h 2172004"/>
                <a:gd name="connsiteX1" fmla="*/ 1396635 w 2537326"/>
                <a:gd name="connsiteY1" fmla="*/ 150 h 2172004"/>
                <a:gd name="connsiteX2" fmla="*/ 2537326 w 2537326"/>
                <a:gd name="connsiteY2" fmla="*/ 1206072 h 2172004"/>
                <a:gd name="connsiteX3" fmla="*/ 944053 w 2537326"/>
                <a:gd name="connsiteY3" fmla="*/ 2171849 h 2172004"/>
                <a:gd name="connsiteX4" fmla="*/ 6562 w 2537326"/>
                <a:gd name="connsiteY4" fmla="*/ 1270727 h 2172004"/>
                <a:gd name="connsiteX0" fmla="*/ 6331 w 2389313"/>
                <a:gd name="connsiteY0" fmla="*/ 1270806 h 2173048"/>
                <a:gd name="connsiteX1" fmla="*/ 1396404 w 2389313"/>
                <a:gd name="connsiteY1" fmla="*/ 229 h 2173048"/>
                <a:gd name="connsiteX2" fmla="*/ 2389313 w 2389313"/>
                <a:gd name="connsiteY2" fmla="*/ 1372406 h 2173048"/>
                <a:gd name="connsiteX3" fmla="*/ 943822 w 2389313"/>
                <a:gd name="connsiteY3" fmla="*/ 2171928 h 2173048"/>
                <a:gd name="connsiteX4" fmla="*/ 6331 w 2389313"/>
                <a:gd name="connsiteY4" fmla="*/ 1270806 h 2173048"/>
                <a:gd name="connsiteX0" fmla="*/ 6654 w 2389636"/>
                <a:gd name="connsiteY0" fmla="*/ 1270806 h 2163864"/>
                <a:gd name="connsiteX1" fmla="*/ 1396727 w 2389636"/>
                <a:gd name="connsiteY1" fmla="*/ 229 h 2163864"/>
                <a:gd name="connsiteX2" fmla="*/ 2389636 w 2389636"/>
                <a:gd name="connsiteY2" fmla="*/ 1372406 h 2163864"/>
                <a:gd name="connsiteX3" fmla="*/ 934908 w 2389636"/>
                <a:gd name="connsiteY3" fmla="*/ 2162691 h 2163864"/>
                <a:gd name="connsiteX4" fmla="*/ 6654 w 2389636"/>
                <a:gd name="connsiteY4" fmla="*/ 1270806 h 2163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9636" h="2163864">
                  <a:moveTo>
                    <a:pt x="6654" y="1270806"/>
                  </a:moveTo>
                  <a:cubicBezTo>
                    <a:pt x="83624" y="910396"/>
                    <a:pt x="999563" y="-16704"/>
                    <a:pt x="1396727" y="229"/>
                  </a:cubicBezTo>
                  <a:cubicBezTo>
                    <a:pt x="1793891" y="17162"/>
                    <a:pt x="2389636" y="726798"/>
                    <a:pt x="2389636" y="1372406"/>
                  </a:cubicBezTo>
                  <a:cubicBezTo>
                    <a:pt x="2389636" y="2018014"/>
                    <a:pt x="1332072" y="2179624"/>
                    <a:pt x="934908" y="2162691"/>
                  </a:cubicBezTo>
                  <a:cubicBezTo>
                    <a:pt x="537744" y="2145758"/>
                    <a:pt x="-70316" y="1631216"/>
                    <a:pt x="6654" y="1270806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BBA2B9F-2741-4B5D-8357-2109382AD1F3}"/>
                </a:ext>
              </a:extLst>
            </p:cNvPr>
            <p:cNvSpPr txBox="1"/>
            <p:nvPr/>
          </p:nvSpPr>
          <p:spPr>
            <a:xfrm>
              <a:off x="3157680" y="1972922"/>
              <a:ext cx="1054929" cy="877163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lIns="0" rIns="0" bIns="0" rtlCol="0">
              <a:spAutoFit/>
            </a:bodyPr>
            <a:lstStyle/>
            <a:p>
              <a:pPr algn="l"/>
              <a:r>
                <a:rPr lang="en-US" sz="5400">
                  <a:solidFill>
                    <a:schemeClr val="accent1"/>
                  </a:solidFill>
                  <a:latin typeface="Comic Sans MS" panose="030F0702030302020204" pitchFamily="66" charset="0"/>
                  <a:cs typeface="Georgia"/>
                </a:rPr>
                <a:t>2.2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1F5D609-6B3E-43EF-A1C8-1C8FAF8238DF}"/>
                </a:ext>
              </a:extLst>
            </p:cNvPr>
            <p:cNvSpPr txBox="1"/>
            <p:nvPr/>
          </p:nvSpPr>
          <p:spPr>
            <a:xfrm>
              <a:off x="2954095" y="2850085"/>
              <a:ext cx="1462098" cy="477054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lIns="0" rIns="0" bIns="0" rtlCol="0">
              <a:spAutoFit/>
            </a:bodyPr>
            <a:lstStyle/>
            <a:p>
              <a:pPr algn="ctr"/>
              <a:r>
                <a:rPr lang="en-US" sz="1400"/>
                <a:t>Completes per tech per day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DD70829-AA8F-48DB-BDF0-DC81E8660A03}"/>
              </a:ext>
            </a:extLst>
          </p:cNvPr>
          <p:cNvGrpSpPr/>
          <p:nvPr/>
        </p:nvGrpSpPr>
        <p:grpSpPr>
          <a:xfrm>
            <a:off x="7367663" y="1548981"/>
            <a:ext cx="2325787" cy="2025570"/>
            <a:chOff x="7378757" y="1541973"/>
            <a:chExt cx="2325787" cy="2025570"/>
          </a:xfrm>
          <a:noFill/>
        </p:grpSpPr>
        <p:sp>
          <p:nvSpPr>
            <p:cNvPr id="24" name="Oval 12">
              <a:extLst>
                <a:ext uri="{FF2B5EF4-FFF2-40B4-BE49-F238E27FC236}">
                  <a16:creationId xmlns:a16="http://schemas.microsoft.com/office/drawing/2014/main" id="{CB282372-A57A-4867-91C1-24192057D848}"/>
                </a:ext>
              </a:extLst>
            </p:cNvPr>
            <p:cNvSpPr/>
            <p:nvPr/>
          </p:nvSpPr>
          <p:spPr>
            <a:xfrm rot="171495">
              <a:off x="7378757" y="1541973"/>
              <a:ext cx="2325787" cy="2025570"/>
            </a:xfrm>
            <a:custGeom>
              <a:avLst/>
              <a:gdLst>
                <a:gd name="connsiteX0" fmla="*/ 0 w 2466109"/>
                <a:gd name="connsiteY0" fmla="*/ 1168977 h 2337954"/>
                <a:gd name="connsiteX1" fmla="*/ 1233055 w 2466109"/>
                <a:gd name="connsiteY1" fmla="*/ 0 h 2337954"/>
                <a:gd name="connsiteX2" fmla="*/ 2466110 w 2466109"/>
                <a:gd name="connsiteY2" fmla="*/ 1168977 h 2337954"/>
                <a:gd name="connsiteX3" fmla="*/ 1233055 w 2466109"/>
                <a:gd name="connsiteY3" fmla="*/ 2337954 h 2337954"/>
                <a:gd name="connsiteX4" fmla="*/ 0 w 2466109"/>
                <a:gd name="connsiteY4" fmla="*/ 1168977 h 2337954"/>
                <a:gd name="connsiteX0" fmla="*/ 306 w 2466416"/>
                <a:gd name="connsiteY0" fmla="*/ 1205922 h 2374899"/>
                <a:gd name="connsiteX1" fmla="*/ 1325725 w 2466416"/>
                <a:gd name="connsiteY1" fmla="*/ 0 h 2374899"/>
                <a:gd name="connsiteX2" fmla="*/ 2466416 w 2466416"/>
                <a:gd name="connsiteY2" fmla="*/ 1205922 h 2374899"/>
                <a:gd name="connsiteX3" fmla="*/ 1233361 w 2466416"/>
                <a:gd name="connsiteY3" fmla="*/ 2374899 h 2374899"/>
                <a:gd name="connsiteX4" fmla="*/ 306 w 2466416"/>
                <a:gd name="connsiteY4" fmla="*/ 1205922 h 2374899"/>
                <a:gd name="connsiteX0" fmla="*/ 200 w 2512492"/>
                <a:gd name="connsiteY0" fmla="*/ 1242917 h 2374986"/>
                <a:gd name="connsiteX1" fmla="*/ 1371801 w 2512492"/>
                <a:gd name="connsiteY1" fmla="*/ 49 h 2374986"/>
                <a:gd name="connsiteX2" fmla="*/ 2512492 w 2512492"/>
                <a:gd name="connsiteY2" fmla="*/ 1205971 h 2374986"/>
                <a:gd name="connsiteX3" fmla="*/ 1279437 w 2512492"/>
                <a:gd name="connsiteY3" fmla="*/ 2374948 h 2374986"/>
                <a:gd name="connsiteX4" fmla="*/ 200 w 2512492"/>
                <a:gd name="connsiteY4" fmla="*/ 1242917 h 2374986"/>
                <a:gd name="connsiteX0" fmla="*/ 196 w 2530960"/>
                <a:gd name="connsiteY0" fmla="*/ 1270727 h 2375168"/>
                <a:gd name="connsiteX1" fmla="*/ 1390269 w 2530960"/>
                <a:gd name="connsiteY1" fmla="*/ 150 h 2375168"/>
                <a:gd name="connsiteX2" fmla="*/ 2530960 w 2530960"/>
                <a:gd name="connsiteY2" fmla="*/ 1206072 h 2375168"/>
                <a:gd name="connsiteX3" fmla="*/ 1297905 w 2530960"/>
                <a:gd name="connsiteY3" fmla="*/ 2375049 h 2375168"/>
                <a:gd name="connsiteX4" fmla="*/ 196 w 2530960"/>
                <a:gd name="connsiteY4" fmla="*/ 1270727 h 2375168"/>
                <a:gd name="connsiteX0" fmla="*/ 6562 w 2537326"/>
                <a:gd name="connsiteY0" fmla="*/ 1270727 h 2172004"/>
                <a:gd name="connsiteX1" fmla="*/ 1396635 w 2537326"/>
                <a:gd name="connsiteY1" fmla="*/ 150 h 2172004"/>
                <a:gd name="connsiteX2" fmla="*/ 2537326 w 2537326"/>
                <a:gd name="connsiteY2" fmla="*/ 1206072 h 2172004"/>
                <a:gd name="connsiteX3" fmla="*/ 944053 w 2537326"/>
                <a:gd name="connsiteY3" fmla="*/ 2171849 h 2172004"/>
                <a:gd name="connsiteX4" fmla="*/ 6562 w 2537326"/>
                <a:gd name="connsiteY4" fmla="*/ 1270727 h 2172004"/>
                <a:gd name="connsiteX0" fmla="*/ 6331 w 2389313"/>
                <a:gd name="connsiteY0" fmla="*/ 1270806 h 2173048"/>
                <a:gd name="connsiteX1" fmla="*/ 1396404 w 2389313"/>
                <a:gd name="connsiteY1" fmla="*/ 229 h 2173048"/>
                <a:gd name="connsiteX2" fmla="*/ 2389313 w 2389313"/>
                <a:gd name="connsiteY2" fmla="*/ 1372406 h 2173048"/>
                <a:gd name="connsiteX3" fmla="*/ 943822 w 2389313"/>
                <a:gd name="connsiteY3" fmla="*/ 2171928 h 2173048"/>
                <a:gd name="connsiteX4" fmla="*/ 6331 w 2389313"/>
                <a:gd name="connsiteY4" fmla="*/ 1270806 h 2173048"/>
                <a:gd name="connsiteX0" fmla="*/ 6654 w 2389636"/>
                <a:gd name="connsiteY0" fmla="*/ 1270806 h 2163864"/>
                <a:gd name="connsiteX1" fmla="*/ 1396727 w 2389636"/>
                <a:gd name="connsiteY1" fmla="*/ 229 h 2163864"/>
                <a:gd name="connsiteX2" fmla="*/ 2389636 w 2389636"/>
                <a:gd name="connsiteY2" fmla="*/ 1372406 h 2163864"/>
                <a:gd name="connsiteX3" fmla="*/ 934908 w 2389636"/>
                <a:gd name="connsiteY3" fmla="*/ 2162691 h 2163864"/>
                <a:gd name="connsiteX4" fmla="*/ 6654 w 2389636"/>
                <a:gd name="connsiteY4" fmla="*/ 1270806 h 2163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9636" h="2163864">
                  <a:moveTo>
                    <a:pt x="6654" y="1270806"/>
                  </a:moveTo>
                  <a:cubicBezTo>
                    <a:pt x="83624" y="910396"/>
                    <a:pt x="999563" y="-16704"/>
                    <a:pt x="1396727" y="229"/>
                  </a:cubicBezTo>
                  <a:cubicBezTo>
                    <a:pt x="1793891" y="17162"/>
                    <a:pt x="2389636" y="726798"/>
                    <a:pt x="2389636" y="1372406"/>
                  </a:cubicBezTo>
                  <a:cubicBezTo>
                    <a:pt x="2389636" y="2018014"/>
                    <a:pt x="1332072" y="2179624"/>
                    <a:pt x="934908" y="2162691"/>
                  </a:cubicBezTo>
                  <a:cubicBezTo>
                    <a:pt x="537744" y="2145758"/>
                    <a:pt x="-70316" y="1631216"/>
                    <a:pt x="6654" y="1270806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581BA7B-E666-4BB8-A546-210D212D3618}"/>
                </a:ext>
              </a:extLst>
            </p:cNvPr>
            <p:cNvSpPr txBox="1"/>
            <p:nvPr/>
          </p:nvSpPr>
          <p:spPr>
            <a:xfrm>
              <a:off x="7930171" y="1990724"/>
              <a:ext cx="1507759" cy="78483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lIns="0" rIns="0" bIns="0" rtlCol="0">
              <a:spAutoFit/>
            </a:bodyPr>
            <a:lstStyle/>
            <a:p>
              <a:pPr algn="ctr"/>
              <a:r>
                <a:rPr lang="en-US" sz="4800" dirty="0">
                  <a:solidFill>
                    <a:schemeClr val="accent1"/>
                  </a:solidFill>
                  <a:latin typeface="Comic Sans MS" panose="030F0702030302020204" pitchFamily="66" charset="0"/>
                  <a:cs typeface="Georgia"/>
                </a:rPr>
                <a:t>5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9253172-4A59-4708-99F3-668AE3910D2A}"/>
                </a:ext>
              </a:extLst>
            </p:cNvPr>
            <p:cNvSpPr txBox="1"/>
            <p:nvPr/>
          </p:nvSpPr>
          <p:spPr>
            <a:xfrm>
              <a:off x="7873828" y="2821721"/>
              <a:ext cx="1620444" cy="477054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lIns="0" rIns="0" bIns="0" rtlCol="0">
              <a:spAutoFit/>
            </a:bodyPr>
            <a:lstStyle/>
            <a:p>
              <a:pPr algn="ctr"/>
              <a:r>
                <a:rPr lang="en-US" sz="1400" dirty="0"/>
                <a:t>Completes per tech per day</a:t>
              </a: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BD48C919-7B26-42DA-AEEB-0392078F8D0B}"/>
              </a:ext>
            </a:extLst>
          </p:cNvPr>
          <p:cNvSpPr/>
          <p:nvPr/>
        </p:nvSpPr>
        <p:spPr>
          <a:xfrm>
            <a:off x="2512860" y="3954346"/>
            <a:ext cx="2019300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1,668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B1834E7-F684-4331-AC36-3F2130BFF5F3}"/>
              </a:ext>
            </a:extLst>
          </p:cNvPr>
          <p:cNvCxnSpPr>
            <a:cxnSpLocks/>
          </p:cNvCxnSpPr>
          <p:nvPr/>
        </p:nvCxnSpPr>
        <p:spPr>
          <a:xfrm>
            <a:off x="6276975" y="4046605"/>
            <a:ext cx="0" cy="1895475"/>
          </a:xfrm>
          <a:prstGeom prst="line">
            <a:avLst/>
          </a:prstGeom>
          <a:ln w="28575" cap="rnd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A18702A3-33BE-4119-A7D2-D57E131FCEA7}"/>
              </a:ext>
            </a:extLst>
          </p:cNvPr>
          <p:cNvSpPr txBox="1"/>
          <p:nvPr/>
        </p:nvSpPr>
        <p:spPr>
          <a:xfrm>
            <a:off x="1601471" y="3938791"/>
            <a:ext cx="911389" cy="477054"/>
          </a:xfrm>
          <a:prstGeom prst="rect">
            <a:avLst/>
          </a:prstGeom>
          <a:noFill/>
        </p:spPr>
        <p:txBody>
          <a:bodyPr wrap="square" lIns="0" rIns="0" bIns="0" rtlCol="0">
            <a:spAutoFit/>
          </a:bodyPr>
          <a:lstStyle/>
          <a:p>
            <a:pPr algn="l"/>
            <a:r>
              <a:rPr lang="en-US" sz="1400">
                <a:cs typeface="Georgia"/>
              </a:rPr>
              <a:t>Daily</a:t>
            </a:r>
          </a:p>
          <a:p>
            <a:pPr algn="l"/>
            <a:r>
              <a:rPr lang="en-US" sz="1400">
                <a:cs typeface="Georgia"/>
              </a:rPr>
              <a:t>Bookings* 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1CD8B2FB-3155-45E6-B45E-1EA1391D9EDD}"/>
              </a:ext>
            </a:extLst>
          </p:cNvPr>
          <p:cNvSpPr/>
          <p:nvPr/>
        </p:nvSpPr>
        <p:spPr>
          <a:xfrm>
            <a:off x="2535030" y="5202669"/>
            <a:ext cx="1260852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754 (-50%)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1B1AB3CA-93B2-47F0-8D20-890CFD89D6DE}"/>
              </a:ext>
            </a:extLst>
          </p:cNvPr>
          <p:cNvSpPr/>
          <p:nvPr/>
        </p:nvSpPr>
        <p:spPr>
          <a:xfrm>
            <a:off x="2527351" y="4571297"/>
            <a:ext cx="1447794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1,305 (-20%)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058098D-D2F6-4045-AC08-9FE0E57C40F4}"/>
              </a:ext>
            </a:extLst>
          </p:cNvPr>
          <p:cNvSpPr txBox="1"/>
          <p:nvPr/>
        </p:nvSpPr>
        <p:spPr>
          <a:xfrm>
            <a:off x="1585956" y="4561370"/>
            <a:ext cx="682392" cy="477054"/>
          </a:xfrm>
          <a:prstGeom prst="rect">
            <a:avLst/>
          </a:prstGeom>
          <a:noFill/>
        </p:spPr>
        <p:txBody>
          <a:bodyPr wrap="square" lIns="0" rIns="0" bIns="0" rtlCol="0">
            <a:spAutoFit/>
          </a:bodyPr>
          <a:lstStyle/>
          <a:p>
            <a:pPr algn="l"/>
            <a:r>
              <a:rPr lang="en-US" sz="1400">
                <a:cs typeface="Georgia"/>
              </a:rPr>
              <a:t>Daily visits*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5A82176A-FDEB-4A56-9993-B6A3C59754AD}"/>
              </a:ext>
            </a:extLst>
          </p:cNvPr>
          <p:cNvSpPr txBox="1"/>
          <p:nvPr/>
        </p:nvSpPr>
        <p:spPr>
          <a:xfrm>
            <a:off x="1604288" y="5179651"/>
            <a:ext cx="991873" cy="477054"/>
          </a:xfrm>
          <a:prstGeom prst="rect">
            <a:avLst/>
          </a:prstGeom>
          <a:noFill/>
        </p:spPr>
        <p:txBody>
          <a:bodyPr wrap="square" lIns="0" rIns="0" bIns="0" rtlCol="0">
            <a:spAutoFit/>
          </a:bodyPr>
          <a:lstStyle/>
          <a:p>
            <a:pPr algn="l"/>
            <a:r>
              <a:rPr lang="en-US" sz="1400">
                <a:cs typeface="Georgia"/>
              </a:rPr>
              <a:t>Daily completes*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8F47A1E-989D-4AE8-8C22-4EB358D2B9C2}"/>
              </a:ext>
            </a:extLst>
          </p:cNvPr>
          <p:cNvSpPr txBox="1"/>
          <p:nvPr/>
        </p:nvSpPr>
        <p:spPr>
          <a:xfrm>
            <a:off x="4557872" y="3983915"/>
            <a:ext cx="1250854" cy="477054"/>
          </a:xfrm>
          <a:prstGeom prst="rect">
            <a:avLst/>
          </a:prstGeom>
          <a:noFill/>
        </p:spPr>
        <p:txBody>
          <a:bodyPr wrap="square" lIns="0" rIns="0" bIns="0" rtlCol="0">
            <a:spAutoFit/>
          </a:bodyPr>
          <a:lstStyle/>
          <a:p>
            <a:pPr algn="ctr"/>
            <a:r>
              <a:rPr lang="en-US" sz="1400">
                <a:cs typeface="Georgia"/>
              </a:rPr>
              <a:t>4.57 jobs</a:t>
            </a:r>
          </a:p>
          <a:p>
            <a:pPr algn="ctr"/>
            <a:r>
              <a:rPr lang="en-US" sz="1400">
                <a:cs typeface="Georgia"/>
              </a:rPr>
              <a:t>per tech per da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0C99884-E0AF-481C-BE13-F9DB47AD661F}"/>
              </a:ext>
            </a:extLst>
          </p:cNvPr>
          <p:cNvSpPr txBox="1"/>
          <p:nvPr/>
        </p:nvSpPr>
        <p:spPr>
          <a:xfrm>
            <a:off x="3587397" y="5209259"/>
            <a:ext cx="1819967" cy="477054"/>
          </a:xfrm>
          <a:prstGeom prst="rect">
            <a:avLst/>
          </a:prstGeom>
          <a:noFill/>
        </p:spPr>
        <p:txBody>
          <a:bodyPr wrap="square" lIns="0" rIns="0" bIns="0" rtlCol="0">
            <a:spAutoFit/>
          </a:bodyPr>
          <a:lstStyle/>
          <a:p>
            <a:pPr algn="ctr"/>
            <a:r>
              <a:rPr lang="en-US" sz="1400">
                <a:cs typeface="Georgia"/>
              </a:rPr>
              <a:t>2.2 jobs  </a:t>
            </a:r>
          </a:p>
          <a:p>
            <a:pPr algn="ctr"/>
            <a:r>
              <a:rPr lang="en-US" sz="1400">
                <a:cs typeface="Georgia"/>
              </a:rPr>
              <a:t>per tech per da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7660F92-B34E-42F2-9229-35D9270FA8FC}"/>
              </a:ext>
            </a:extLst>
          </p:cNvPr>
          <p:cNvSpPr/>
          <p:nvPr/>
        </p:nvSpPr>
        <p:spPr>
          <a:xfrm>
            <a:off x="6928115" y="3717441"/>
            <a:ext cx="4522412" cy="257252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>
                <a:solidFill>
                  <a:schemeClr val="tx1"/>
                </a:solidFill>
                <a:cs typeface="Georgia"/>
              </a:rPr>
              <a:t>We complete ~50% of the bookings per tech per day. </a:t>
            </a:r>
          </a:p>
          <a:p>
            <a:endParaRPr lang="en-US" sz="1600">
              <a:solidFill>
                <a:schemeClr val="tx1"/>
              </a:solidFill>
              <a:cs typeface="Georgia"/>
            </a:endParaRPr>
          </a:p>
          <a:p>
            <a:r>
              <a:rPr lang="en-US" sz="1600">
                <a:solidFill>
                  <a:schemeClr val="tx1"/>
                </a:solidFill>
                <a:cs typeface="Georgia"/>
              </a:rPr>
              <a:t>To complete 5 jobs/tech per day we need to book 9 jobs/tech per day. </a:t>
            </a:r>
          </a:p>
          <a:p>
            <a:endParaRPr lang="en-US" sz="1600">
              <a:solidFill>
                <a:schemeClr val="tx1"/>
              </a:solidFill>
              <a:cs typeface="Georgia"/>
            </a:endParaRPr>
          </a:p>
          <a:p>
            <a:r>
              <a:rPr lang="en-US" sz="1600">
                <a:solidFill>
                  <a:schemeClr val="tx1"/>
                </a:solidFill>
                <a:cs typeface="Georgia"/>
              </a:rPr>
              <a:t>Using zone optimization, we can squeeze in 2 additional bookings per tech per day.</a:t>
            </a:r>
          </a:p>
          <a:p>
            <a:pPr algn="ctr"/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BDBE1D1-A9AA-460C-8046-8CE4990B6E06}"/>
              </a:ext>
            </a:extLst>
          </p:cNvPr>
          <p:cNvSpPr/>
          <p:nvPr/>
        </p:nvSpPr>
        <p:spPr>
          <a:xfrm>
            <a:off x="13061" y="1724564"/>
            <a:ext cx="1997716" cy="47705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/>
              <a:t>Current Performanc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CF36E9-8152-44B9-B47E-E5F7BA5EAFA2}"/>
              </a:ext>
            </a:extLst>
          </p:cNvPr>
          <p:cNvSpPr/>
          <p:nvPr/>
        </p:nvSpPr>
        <p:spPr>
          <a:xfrm>
            <a:off x="10194284" y="1713039"/>
            <a:ext cx="1997716" cy="47705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/>
              <a:t>2022 Goal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7C1B9B2-2E6F-439E-85A0-739C2CF210F1}"/>
              </a:ext>
            </a:extLst>
          </p:cNvPr>
          <p:cNvSpPr txBox="1"/>
          <p:nvPr/>
        </p:nvSpPr>
        <p:spPr>
          <a:xfrm>
            <a:off x="1633722" y="5995397"/>
            <a:ext cx="2876403" cy="415498"/>
          </a:xfrm>
          <a:prstGeom prst="rect">
            <a:avLst/>
          </a:prstGeom>
          <a:noFill/>
        </p:spPr>
        <p:txBody>
          <a:bodyPr wrap="square" lIns="0" rIns="0" bIns="0" rtlCol="0">
            <a:spAutoFit/>
          </a:bodyPr>
          <a:lstStyle/>
          <a:p>
            <a:pPr algn="l"/>
            <a:r>
              <a:rPr lang="en-US" sz="1200">
                <a:cs typeface="Georgia"/>
              </a:rPr>
              <a:t>** Funnel shows sum of bookings including all markets</a:t>
            </a:r>
            <a:r>
              <a:rPr lang="en-US" sz="1200" dirty="0">
                <a:cs typeface="Georgia"/>
              </a:rPr>
              <a:t> for a day in March</a:t>
            </a:r>
            <a:endParaRPr lang="en-US" sz="1200">
              <a:cs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664069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A7E1D4-31B4-894A-BD06-C7F3027704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Zone Optimizati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A2E66C0-0BD9-4B8E-8509-1F3C4CBE6AA2}"/>
              </a:ext>
            </a:extLst>
          </p:cNvPr>
          <p:cNvSpPr/>
          <p:nvPr/>
        </p:nvSpPr>
        <p:spPr>
          <a:xfrm>
            <a:off x="4906240" y="1295400"/>
            <a:ext cx="6361936" cy="4838700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>
                <a:solidFill>
                  <a:srgbClr val="000000"/>
                </a:solidFill>
                <a:latin typeface="Calibri" panose="020F0502020204030204"/>
                <a:cs typeface="Calibri" panose="020F0502020204030204"/>
              </a:rPr>
              <a:t>We serve a </a:t>
            </a:r>
            <a:r>
              <a:rPr lang="en-US" sz="1600" b="1">
                <a:solidFill>
                  <a:srgbClr val="000000"/>
                </a:solidFill>
                <a:latin typeface="Calibri" panose="020F0502020204030204"/>
                <a:cs typeface="Calibri" panose="020F0502020204030204"/>
              </a:rPr>
              <a:t>larger than optimal market coverage. </a:t>
            </a:r>
            <a:r>
              <a:rPr lang="en-US" sz="1600" dirty="0">
                <a:solidFill>
                  <a:srgbClr val="000000"/>
                </a:solidFill>
                <a:latin typeface="Calibri" panose="020F0502020204030204"/>
                <a:cs typeface="Calibri" panose="020F0502020204030204"/>
              </a:rPr>
              <a:t>L</a:t>
            </a:r>
            <a:r>
              <a:rPr lang="en-US" sz="1600">
                <a:solidFill>
                  <a:srgbClr val="000000"/>
                </a:solidFill>
                <a:latin typeface="Calibri" panose="020F0502020204030204"/>
                <a:cs typeface="Calibri" panose="020F0502020204030204"/>
              </a:rPr>
              <a:t>eading to higher miles driven per tech per day. </a:t>
            </a:r>
          </a:p>
          <a:p>
            <a:endParaRPr lang="en-US" sz="1600">
              <a:solidFill>
                <a:srgbClr val="000000"/>
              </a:solidFill>
              <a:latin typeface="Calibri" panose="020F0502020204030204"/>
              <a:cs typeface="Calibri" panose="020F0502020204030204"/>
            </a:endParaRPr>
          </a:p>
          <a:p>
            <a:r>
              <a:rPr lang="en-US" sz="1600">
                <a:solidFill>
                  <a:srgbClr val="000000"/>
                </a:solidFill>
                <a:latin typeface="Calibri" panose="020F0502020204030204"/>
                <a:cs typeface="Calibri" panose="020F0502020204030204"/>
              </a:rPr>
              <a:t>Reducing the coverage to serve 40% of the area can free up tech’s time to complete more jobs:</a:t>
            </a:r>
          </a:p>
          <a:p>
            <a:endParaRPr lang="en-US" sz="1600">
              <a:solidFill>
                <a:srgbClr val="000000"/>
              </a:solidFill>
              <a:latin typeface="Calibri" panose="020F0502020204030204"/>
              <a:cs typeface="Calibri" panose="020F0502020204030204"/>
            </a:endParaRPr>
          </a:p>
          <a:p>
            <a:pPr marL="91440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latin typeface="Calibri" panose="020F0502020204030204"/>
                <a:cs typeface="Calibri" panose="020F0502020204030204"/>
              </a:rPr>
              <a:t>For Samsung: Limited availability in hard-to-reach zip codes</a:t>
            </a:r>
          </a:p>
          <a:p>
            <a:pPr marL="91440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latin typeface="Calibri" panose="020F0502020204030204"/>
                <a:cs typeface="Calibri" panose="020F0502020204030204"/>
              </a:rPr>
              <a:t>For D2C: Reduce coverage to core market areas generating most of the demand</a:t>
            </a:r>
          </a:p>
          <a:p>
            <a:endParaRPr lang="en-US" sz="1600">
              <a:solidFill>
                <a:srgbClr val="000000"/>
              </a:solidFill>
              <a:latin typeface="Calibri" panose="020F0502020204030204"/>
              <a:cs typeface="Calibri" panose="020F0502020204030204"/>
            </a:endParaRPr>
          </a:p>
          <a:p>
            <a:endParaRPr lang="en-US" sz="1600">
              <a:solidFill>
                <a:srgbClr val="000000"/>
              </a:solidFill>
              <a:latin typeface="Calibri" panose="020F0502020204030204"/>
              <a:cs typeface="Calibri" panose="020F0502020204030204"/>
            </a:endParaRPr>
          </a:p>
          <a:p>
            <a:endParaRPr lang="en-US" sz="1600">
              <a:solidFill>
                <a:srgbClr val="000000"/>
              </a:solidFill>
              <a:latin typeface="Calibri" panose="020F0502020204030204"/>
              <a:cs typeface="Calibri" panose="020F0502020204030204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92101B6-6807-4AEC-99AE-123410BF7896}"/>
              </a:ext>
            </a:extLst>
          </p:cNvPr>
          <p:cNvGrpSpPr/>
          <p:nvPr/>
        </p:nvGrpSpPr>
        <p:grpSpPr>
          <a:xfrm>
            <a:off x="1032061" y="1509901"/>
            <a:ext cx="3428184" cy="3155795"/>
            <a:chOff x="1190950" y="2176544"/>
            <a:chExt cx="2789758" cy="2734071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BF1CD6EF-AE8D-4ED2-B7BB-D60DA4B18669}"/>
                </a:ext>
              </a:extLst>
            </p:cNvPr>
            <p:cNvGrpSpPr/>
            <p:nvPr/>
          </p:nvGrpSpPr>
          <p:grpSpPr>
            <a:xfrm>
              <a:off x="1190950" y="2176544"/>
              <a:ext cx="2789758" cy="2734071"/>
              <a:chOff x="1190950" y="2176544"/>
              <a:chExt cx="2789758" cy="2734071"/>
            </a:xfrm>
          </p:grpSpPr>
          <p:sp>
            <p:nvSpPr>
              <p:cNvPr id="8" name="Oval 12">
                <a:extLst>
                  <a:ext uri="{FF2B5EF4-FFF2-40B4-BE49-F238E27FC236}">
                    <a16:creationId xmlns:a16="http://schemas.microsoft.com/office/drawing/2014/main" id="{42489AFA-4672-4ED9-9D30-E4CE5613659D}"/>
                  </a:ext>
                </a:extLst>
              </p:cNvPr>
              <p:cNvSpPr/>
              <p:nvPr/>
            </p:nvSpPr>
            <p:spPr>
              <a:xfrm rot="11850658">
                <a:off x="1282333" y="2425328"/>
                <a:ext cx="2698375" cy="2485287"/>
              </a:xfrm>
              <a:custGeom>
                <a:avLst/>
                <a:gdLst>
                  <a:gd name="connsiteX0" fmla="*/ 0 w 2466109"/>
                  <a:gd name="connsiteY0" fmla="*/ 1168977 h 2337954"/>
                  <a:gd name="connsiteX1" fmla="*/ 1233055 w 2466109"/>
                  <a:gd name="connsiteY1" fmla="*/ 0 h 2337954"/>
                  <a:gd name="connsiteX2" fmla="*/ 2466110 w 2466109"/>
                  <a:gd name="connsiteY2" fmla="*/ 1168977 h 2337954"/>
                  <a:gd name="connsiteX3" fmla="*/ 1233055 w 2466109"/>
                  <a:gd name="connsiteY3" fmla="*/ 2337954 h 2337954"/>
                  <a:gd name="connsiteX4" fmla="*/ 0 w 2466109"/>
                  <a:gd name="connsiteY4" fmla="*/ 1168977 h 2337954"/>
                  <a:gd name="connsiteX0" fmla="*/ 306 w 2466416"/>
                  <a:gd name="connsiteY0" fmla="*/ 1205922 h 2374899"/>
                  <a:gd name="connsiteX1" fmla="*/ 1325725 w 2466416"/>
                  <a:gd name="connsiteY1" fmla="*/ 0 h 2374899"/>
                  <a:gd name="connsiteX2" fmla="*/ 2466416 w 2466416"/>
                  <a:gd name="connsiteY2" fmla="*/ 1205922 h 2374899"/>
                  <a:gd name="connsiteX3" fmla="*/ 1233361 w 2466416"/>
                  <a:gd name="connsiteY3" fmla="*/ 2374899 h 2374899"/>
                  <a:gd name="connsiteX4" fmla="*/ 306 w 2466416"/>
                  <a:gd name="connsiteY4" fmla="*/ 1205922 h 2374899"/>
                  <a:gd name="connsiteX0" fmla="*/ 200 w 2512492"/>
                  <a:gd name="connsiteY0" fmla="*/ 1242917 h 2374986"/>
                  <a:gd name="connsiteX1" fmla="*/ 1371801 w 2512492"/>
                  <a:gd name="connsiteY1" fmla="*/ 49 h 2374986"/>
                  <a:gd name="connsiteX2" fmla="*/ 2512492 w 2512492"/>
                  <a:gd name="connsiteY2" fmla="*/ 1205971 h 2374986"/>
                  <a:gd name="connsiteX3" fmla="*/ 1279437 w 2512492"/>
                  <a:gd name="connsiteY3" fmla="*/ 2374948 h 2374986"/>
                  <a:gd name="connsiteX4" fmla="*/ 200 w 2512492"/>
                  <a:gd name="connsiteY4" fmla="*/ 1242917 h 2374986"/>
                  <a:gd name="connsiteX0" fmla="*/ 196 w 2530960"/>
                  <a:gd name="connsiteY0" fmla="*/ 1270727 h 2375168"/>
                  <a:gd name="connsiteX1" fmla="*/ 1390269 w 2530960"/>
                  <a:gd name="connsiteY1" fmla="*/ 150 h 2375168"/>
                  <a:gd name="connsiteX2" fmla="*/ 2530960 w 2530960"/>
                  <a:gd name="connsiteY2" fmla="*/ 1206072 h 2375168"/>
                  <a:gd name="connsiteX3" fmla="*/ 1297905 w 2530960"/>
                  <a:gd name="connsiteY3" fmla="*/ 2375049 h 2375168"/>
                  <a:gd name="connsiteX4" fmla="*/ 196 w 2530960"/>
                  <a:gd name="connsiteY4" fmla="*/ 1270727 h 2375168"/>
                  <a:gd name="connsiteX0" fmla="*/ 6562 w 2537326"/>
                  <a:gd name="connsiteY0" fmla="*/ 1270727 h 2172004"/>
                  <a:gd name="connsiteX1" fmla="*/ 1396635 w 2537326"/>
                  <a:gd name="connsiteY1" fmla="*/ 150 h 2172004"/>
                  <a:gd name="connsiteX2" fmla="*/ 2537326 w 2537326"/>
                  <a:gd name="connsiteY2" fmla="*/ 1206072 h 2172004"/>
                  <a:gd name="connsiteX3" fmla="*/ 944053 w 2537326"/>
                  <a:gd name="connsiteY3" fmla="*/ 2171849 h 2172004"/>
                  <a:gd name="connsiteX4" fmla="*/ 6562 w 2537326"/>
                  <a:gd name="connsiteY4" fmla="*/ 1270727 h 2172004"/>
                  <a:gd name="connsiteX0" fmla="*/ 6331 w 2389313"/>
                  <a:gd name="connsiteY0" fmla="*/ 1270806 h 2173048"/>
                  <a:gd name="connsiteX1" fmla="*/ 1396404 w 2389313"/>
                  <a:gd name="connsiteY1" fmla="*/ 229 h 2173048"/>
                  <a:gd name="connsiteX2" fmla="*/ 2389313 w 2389313"/>
                  <a:gd name="connsiteY2" fmla="*/ 1372406 h 2173048"/>
                  <a:gd name="connsiteX3" fmla="*/ 943822 w 2389313"/>
                  <a:gd name="connsiteY3" fmla="*/ 2171928 h 2173048"/>
                  <a:gd name="connsiteX4" fmla="*/ 6331 w 2389313"/>
                  <a:gd name="connsiteY4" fmla="*/ 1270806 h 2173048"/>
                  <a:gd name="connsiteX0" fmla="*/ 6654 w 2389636"/>
                  <a:gd name="connsiteY0" fmla="*/ 1270806 h 2163864"/>
                  <a:gd name="connsiteX1" fmla="*/ 1396727 w 2389636"/>
                  <a:gd name="connsiteY1" fmla="*/ 229 h 2163864"/>
                  <a:gd name="connsiteX2" fmla="*/ 2389636 w 2389636"/>
                  <a:gd name="connsiteY2" fmla="*/ 1372406 h 2163864"/>
                  <a:gd name="connsiteX3" fmla="*/ 934908 w 2389636"/>
                  <a:gd name="connsiteY3" fmla="*/ 2162691 h 2163864"/>
                  <a:gd name="connsiteX4" fmla="*/ 6654 w 2389636"/>
                  <a:gd name="connsiteY4" fmla="*/ 1270806 h 2163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89636" h="2163864">
                    <a:moveTo>
                      <a:pt x="6654" y="1270806"/>
                    </a:moveTo>
                    <a:cubicBezTo>
                      <a:pt x="83624" y="910396"/>
                      <a:pt x="999563" y="-16704"/>
                      <a:pt x="1396727" y="229"/>
                    </a:cubicBezTo>
                    <a:cubicBezTo>
                      <a:pt x="1793891" y="17162"/>
                      <a:pt x="2389636" y="726798"/>
                      <a:pt x="2389636" y="1372406"/>
                    </a:cubicBezTo>
                    <a:cubicBezTo>
                      <a:pt x="2389636" y="2018014"/>
                      <a:pt x="1332072" y="2179624"/>
                      <a:pt x="934908" y="2162691"/>
                    </a:cubicBezTo>
                    <a:cubicBezTo>
                      <a:pt x="537744" y="2145758"/>
                      <a:pt x="-70316" y="1631216"/>
                      <a:pt x="6654" y="1270806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/>
              </a:p>
            </p:txBody>
          </p:sp>
          <p:sp>
            <p:nvSpPr>
              <p:cNvPr id="6" name="Oval 12">
                <a:extLst>
                  <a:ext uri="{FF2B5EF4-FFF2-40B4-BE49-F238E27FC236}">
                    <a16:creationId xmlns:a16="http://schemas.microsoft.com/office/drawing/2014/main" id="{61C13F19-F989-4196-81D1-7887A4AE1C86}"/>
                  </a:ext>
                </a:extLst>
              </p:cNvPr>
              <p:cNvSpPr/>
              <p:nvPr/>
            </p:nvSpPr>
            <p:spPr>
              <a:xfrm>
                <a:off x="1190950" y="2176544"/>
                <a:ext cx="2630739" cy="2598728"/>
              </a:xfrm>
              <a:custGeom>
                <a:avLst/>
                <a:gdLst>
                  <a:gd name="connsiteX0" fmla="*/ 0 w 2466109"/>
                  <a:gd name="connsiteY0" fmla="*/ 1168977 h 2337954"/>
                  <a:gd name="connsiteX1" fmla="*/ 1233055 w 2466109"/>
                  <a:gd name="connsiteY1" fmla="*/ 0 h 2337954"/>
                  <a:gd name="connsiteX2" fmla="*/ 2466110 w 2466109"/>
                  <a:gd name="connsiteY2" fmla="*/ 1168977 h 2337954"/>
                  <a:gd name="connsiteX3" fmla="*/ 1233055 w 2466109"/>
                  <a:gd name="connsiteY3" fmla="*/ 2337954 h 2337954"/>
                  <a:gd name="connsiteX4" fmla="*/ 0 w 2466109"/>
                  <a:gd name="connsiteY4" fmla="*/ 1168977 h 2337954"/>
                  <a:gd name="connsiteX0" fmla="*/ 306 w 2466416"/>
                  <a:gd name="connsiteY0" fmla="*/ 1205922 h 2374899"/>
                  <a:gd name="connsiteX1" fmla="*/ 1325725 w 2466416"/>
                  <a:gd name="connsiteY1" fmla="*/ 0 h 2374899"/>
                  <a:gd name="connsiteX2" fmla="*/ 2466416 w 2466416"/>
                  <a:gd name="connsiteY2" fmla="*/ 1205922 h 2374899"/>
                  <a:gd name="connsiteX3" fmla="*/ 1233361 w 2466416"/>
                  <a:gd name="connsiteY3" fmla="*/ 2374899 h 2374899"/>
                  <a:gd name="connsiteX4" fmla="*/ 306 w 2466416"/>
                  <a:gd name="connsiteY4" fmla="*/ 1205922 h 2374899"/>
                  <a:gd name="connsiteX0" fmla="*/ 200 w 2512492"/>
                  <a:gd name="connsiteY0" fmla="*/ 1242917 h 2374986"/>
                  <a:gd name="connsiteX1" fmla="*/ 1371801 w 2512492"/>
                  <a:gd name="connsiteY1" fmla="*/ 49 h 2374986"/>
                  <a:gd name="connsiteX2" fmla="*/ 2512492 w 2512492"/>
                  <a:gd name="connsiteY2" fmla="*/ 1205971 h 2374986"/>
                  <a:gd name="connsiteX3" fmla="*/ 1279437 w 2512492"/>
                  <a:gd name="connsiteY3" fmla="*/ 2374948 h 2374986"/>
                  <a:gd name="connsiteX4" fmla="*/ 200 w 2512492"/>
                  <a:gd name="connsiteY4" fmla="*/ 1242917 h 2374986"/>
                  <a:gd name="connsiteX0" fmla="*/ 196 w 2530960"/>
                  <a:gd name="connsiteY0" fmla="*/ 1270727 h 2375168"/>
                  <a:gd name="connsiteX1" fmla="*/ 1390269 w 2530960"/>
                  <a:gd name="connsiteY1" fmla="*/ 150 h 2375168"/>
                  <a:gd name="connsiteX2" fmla="*/ 2530960 w 2530960"/>
                  <a:gd name="connsiteY2" fmla="*/ 1206072 h 2375168"/>
                  <a:gd name="connsiteX3" fmla="*/ 1297905 w 2530960"/>
                  <a:gd name="connsiteY3" fmla="*/ 2375049 h 2375168"/>
                  <a:gd name="connsiteX4" fmla="*/ 196 w 2530960"/>
                  <a:gd name="connsiteY4" fmla="*/ 1270727 h 2375168"/>
                  <a:gd name="connsiteX0" fmla="*/ 6562 w 2537326"/>
                  <a:gd name="connsiteY0" fmla="*/ 1270727 h 2172004"/>
                  <a:gd name="connsiteX1" fmla="*/ 1396635 w 2537326"/>
                  <a:gd name="connsiteY1" fmla="*/ 150 h 2172004"/>
                  <a:gd name="connsiteX2" fmla="*/ 2537326 w 2537326"/>
                  <a:gd name="connsiteY2" fmla="*/ 1206072 h 2172004"/>
                  <a:gd name="connsiteX3" fmla="*/ 944053 w 2537326"/>
                  <a:gd name="connsiteY3" fmla="*/ 2171849 h 2172004"/>
                  <a:gd name="connsiteX4" fmla="*/ 6562 w 2537326"/>
                  <a:gd name="connsiteY4" fmla="*/ 1270727 h 2172004"/>
                  <a:gd name="connsiteX0" fmla="*/ 6331 w 2389313"/>
                  <a:gd name="connsiteY0" fmla="*/ 1270806 h 2173048"/>
                  <a:gd name="connsiteX1" fmla="*/ 1396404 w 2389313"/>
                  <a:gd name="connsiteY1" fmla="*/ 229 h 2173048"/>
                  <a:gd name="connsiteX2" fmla="*/ 2389313 w 2389313"/>
                  <a:gd name="connsiteY2" fmla="*/ 1372406 h 2173048"/>
                  <a:gd name="connsiteX3" fmla="*/ 943822 w 2389313"/>
                  <a:gd name="connsiteY3" fmla="*/ 2171928 h 2173048"/>
                  <a:gd name="connsiteX4" fmla="*/ 6331 w 2389313"/>
                  <a:gd name="connsiteY4" fmla="*/ 1270806 h 2173048"/>
                  <a:gd name="connsiteX0" fmla="*/ 6654 w 2389636"/>
                  <a:gd name="connsiteY0" fmla="*/ 1270806 h 2163864"/>
                  <a:gd name="connsiteX1" fmla="*/ 1396727 w 2389636"/>
                  <a:gd name="connsiteY1" fmla="*/ 229 h 2163864"/>
                  <a:gd name="connsiteX2" fmla="*/ 2389636 w 2389636"/>
                  <a:gd name="connsiteY2" fmla="*/ 1372406 h 2163864"/>
                  <a:gd name="connsiteX3" fmla="*/ 934908 w 2389636"/>
                  <a:gd name="connsiteY3" fmla="*/ 2162691 h 2163864"/>
                  <a:gd name="connsiteX4" fmla="*/ 6654 w 2389636"/>
                  <a:gd name="connsiteY4" fmla="*/ 1270806 h 2163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89636" h="2163864">
                    <a:moveTo>
                      <a:pt x="6654" y="1270806"/>
                    </a:moveTo>
                    <a:cubicBezTo>
                      <a:pt x="83624" y="910396"/>
                      <a:pt x="999563" y="-16704"/>
                      <a:pt x="1396727" y="229"/>
                    </a:cubicBezTo>
                    <a:cubicBezTo>
                      <a:pt x="1793891" y="17162"/>
                      <a:pt x="2389636" y="726798"/>
                      <a:pt x="2389636" y="1372406"/>
                    </a:cubicBezTo>
                    <a:cubicBezTo>
                      <a:pt x="2389636" y="2018014"/>
                      <a:pt x="1332072" y="2179624"/>
                      <a:pt x="934908" y="2162691"/>
                    </a:cubicBezTo>
                    <a:cubicBezTo>
                      <a:pt x="537744" y="2145758"/>
                      <a:pt x="-70316" y="1631216"/>
                      <a:pt x="6654" y="1270806"/>
                    </a:cubicBezTo>
                    <a:close/>
                  </a:path>
                </a:pathLst>
              </a:custGeom>
              <a:noFill/>
              <a:ln w="19050">
                <a:solidFill>
                  <a:schemeClr val="accent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/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7A73D1E-F9D5-4CC4-8B8B-4A75B062C0D5}"/>
                </a:ext>
              </a:extLst>
            </p:cNvPr>
            <p:cNvSpPr txBox="1"/>
            <p:nvPr/>
          </p:nvSpPr>
          <p:spPr>
            <a:xfrm>
              <a:off x="2128824" y="2926860"/>
              <a:ext cx="1005393" cy="626620"/>
            </a:xfrm>
            <a:prstGeom prst="rect">
              <a:avLst/>
            </a:prstGeom>
            <a:noFill/>
          </p:spPr>
          <p:txBody>
            <a:bodyPr wrap="square" lIns="0" rIns="0" bIns="0" rtlCol="0">
              <a:spAutoFit/>
            </a:bodyPr>
            <a:lstStyle/>
            <a:p>
              <a:pPr algn="l"/>
              <a:r>
                <a:rPr lang="en-US" sz="4400">
                  <a:latin typeface="Comic Sans MS" panose="030F0702030302020204" pitchFamily="66" charset="0"/>
                  <a:cs typeface="Georgia"/>
                </a:rPr>
                <a:t>80%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62F1BC58-A642-4978-A01C-34A08C29A9B0}"/>
                </a:ext>
              </a:extLst>
            </p:cNvPr>
            <p:cNvSpPr txBox="1"/>
            <p:nvPr/>
          </p:nvSpPr>
          <p:spPr>
            <a:xfrm>
              <a:off x="1749318" y="3667971"/>
              <a:ext cx="1829277" cy="413303"/>
            </a:xfrm>
            <a:prstGeom prst="rect">
              <a:avLst/>
            </a:prstGeom>
            <a:noFill/>
          </p:spPr>
          <p:txBody>
            <a:bodyPr wrap="square" lIns="0" rIns="0" bIns="0" rtlCol="0">
              <a:spAutoFit/>
            </a:bodyPr>
            <a:lstStyle/>
            <a:p>
              <a:pPr algn="l"/>
              <a:r>
                <a:rPr lang="en-US" sz="1400">
                  <a:cs typeface="Georgia"/>
                </a:rPr>
                <a:t>of our demand comes from 40% of our market coverag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6117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A7E1D4-31B4-894A-BD06-C7F3027704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eveland market coverage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4EA7AD07-9610-4009-A2F1-825E230588A4}"/>
              </a:ext>
            </a:extLst>
          </p:cNvPr>
          <p:cNvGrpSpPr/>
          <p:nvPr/>
        </p:nvGrpSpPr>
        <p:grpSpPr>
          <a:xfrm>
            <a:off x="6181721" y="1292017"/>
            <a:ext cx="5226847" cy="4522070"/>
            <a:chOff x="5688804" y="1206292"/>
            <a:chExt cx="5226847" cy="452207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27A56A45-23CD-4A65-9889-6609D81FDAB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695951" y="1206292"/>
              <a:ext cx="5219700" cy="3721970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DA6C553-76B7-4373-8630-DCF6E5F17B2A}"/>
                </a:ext>
              </a:extLst>
            </p:cNvPr>
            <p:cNvSpPr/>
            <p:nvPr/>
          </p:nvSpPr>
          <p:spPr>
            <a:xfrm>
              <a:off x="5688804" y="4928262"/>
              <a:ext cx="5226847" cy="8001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>
                  <a:solidFill>
                    <a:schemeClr val="tx1"/>
                  </a:solidFill>
                  <a:cs typeface="Georgia"/>
                </a:rPr>
                <a:t>Each dot represents an Asurion repair from Cleveland market. </a:t>
              </a:r>
            </a:p>
            <a:p>
              <a:endParaRPr lang="en-US" sz="1200">
                <a:solidFill>
                  <a:schemeClr val="tx1"/>
                </a:solidFill>
                <a:cs typeface="Georgia"/>
              </a:endParaRPr>
            </a:p>
            <a:p>
              <a:r>
                <a:rPr lang="en-US" sz="1200">
                  <a:solidFill>
                    <a:schemeClr val="tx1"/>
                  </a:solidFill>
                  <a:cs typeface="Georgia"/>
                </a:rPr>
                <a:t>Red dots are jobs that take significant travel time for techs. 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E8D2D2F9-E999-49B4-8F25-AC007D127776}"/>
              </a:ext>
            </a:extLst>
          </p:cNvPr>
          <p:cNvGrpSpPr/>
          <p:nvPr/>
        </p:nvGrpSpPr>
        <p:grpSpPr>
          <a:xfrm>
            <a:off x="859632" y="2882692"/>
            <a:ext cx="4629151" cy="2845882"/>
            <a:chOff x="716757" y="1358692"/>
            <a:chExt cx="4629151" cy="2845882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F36FDD48-93EC-4F8B-8F57-30F3A5AB7133}"/>
                </a:ext>
              </a:extLst>
            </p:cNvPr>
            <p:cNvGrpSpPr/>
            <p:nvPr/>
          </p:nvGrpSpPr>
          <p:grpSpPr>
            <a:xfrm>
              <a:off x="716757" y="2114023"/>
              <a:ext cx="4629150" cy="640081"/>
              <a:chOff x="716757" y="2234991"/>
              <a:chExt cx="4629150" cy="64008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CF23DF68-2920-455B-8BE7-E440A1A97717}"/>
                  </a:ext>
                </a:extLst>
              </p:cNvPr>
              <p:cNvSpPr/>
              <p:nvPr/>
            </p:nvSpPr>
            <p:spPr>
              <a:xfrm>
                <a:off x="716757" y="2234992"/>
                <a:ext cx="4629150" cy="64008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>
                    <a:solidFill>
                      <a:schemeClr val="tx1"/>
                    </a:solidFill>
                  </a:rPr>
                  <a:t>Jobs in last 24 months</a:t>
                </a: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3AF64DF1-58E5-42F3-A58F-41A922A22A1B}"/>
                  </a:ext>
                </a:extLst>
              </p:cNvPr>
              <p:cNvSpPr/>
              <p:nvPr/>
            </p:nvSpPr>
            <p:spPr>
              <a:xfrm>
                <a:off x="4250532" y="2234991"/>
                <a:ext cx="1095375" cy="64008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>
                    <a:solidFill>
                      <a:schemeClr val="tx1"/>
                    </a:solidFill>
                  </a:rPr>
                  <a:t>3,254</a:t>
                </a:r>
                <a:endParaRPr lang="en-US" sz="240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229E2DDF-E725-47EE-9CD7-B75C30D03A2B}"/>
                </a:ext>
              </a:extLst>
            </p:cNvPr>
            <p:cNvGrpSpPr/>
            <p:nvPr/>
          </p:nvGrpSpPr>
          <p:grpSpPr>
            <a:xfrm>
              <a:off x="716757" y="1358692"/>
              <a:ext cx="4629151" cy="651083"/>
              <a:chOff x="716757" y="1358692"/>
              <a:chExt cx="4629151" cy="651083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6F0290E3-998A-49D1-8AD2-0A8FB8D140A4}"/>
                  </a:ext>
                </a:extLst>
              </p:cNvPr>
              <p:cNvSpPr/>
              <p:nvPr/>
            </p:nvSpPr>
            <p:spPr>
              <a:xfrm>
                <a:off x="716757" y="1358692"/>
                <a:ext cx="4629150" cy="651083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>
                    <a:solidFill>
                      <a:schemeClr val="tx1"/>
                    </a:solidFill>
                    <a:cs typeface="Georgia"/>
                  </a:rPr>
                  <a:t>Total zip codes covered (OEM+D2C):       </a:t>
                </a:r>
                <a:endParaRPr lang="en-US" sz="1600" b="1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ED3CB87C-83C5-4BB1-91B2-E9AF1B812541}"/>
                  </a:ext>
                </a:extLst>
              </p:cNvPr>
              <p:cNvSpPr/>
              <p:nvPr/>
            </p:nvSpPr>
            <p:spPr>
              <a:xfrm>
                <a:off x="4250532" y="1358692"/>
                <a:ext cx="1095376" cy="651083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>
                    <a:solidFill>
                      <a:schemeClr val="tx1"/>
                    </a:solidFill>
                  </a:rPr>
                  <a:t>309</a:t>
                </a:r>
                <a:endParaRPr lang="en-US" sz="240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5713F55E-7DF9-4A51-88DF-0B2AA8997492}"/>
                </a:ext>
              </a:extLst>
            </p:cNvPr>
            <p:cNvGrpSpPr/>
            <p:nvPr/>
          </p:nvGrpSpPr>
          <p:grpSpPr>
            <a:xfrm>
              <a:off x="716757" y="2828199"/>
              <a:ext cx="4629150" cy="649605"/>
              <a:chOff x="716757" y="3101767"/>
              <a:chExt cx="4629150" cy="649605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4322E38B-6336-4411-8B05-6632C1802BB7}"/>
                  </a:ext>
                </a:extLst>
              </p:cNvPr>
              <p:cNvSpPr/>
              <p:nvPr/>
            </p:nvSpPr>
            <p:spPr>
              <a:xfrm>
                <a:off x="716757" y="3111292"/>
                <a:ext cx="4629150" cy="64008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>
                    <a:solidFill>
                      <a:schemeClr val="tx1"/>
                    </a:solidFill>
                  </a:rPr>
                  <a:t>Bookings per day per tech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B2947A9-641F-4B72-ACC5-7422BC240A10}"/>
                  </a:ext>
                </a:extLst>
              </p:cNvPr>
              <p:cNvSpPr/>
              <p:nvPr/>
            </p:nvSpPr>
            <p:spPr>
              <a:xfrm>
                <a:off x="4250531" y="3101767"/>
                <a:ext cx="1095375" cy="64008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>
                    <a:solidFill>
                      <a:schemeClr val="tx1"/>
                    </a:solidFill>
                  </a:rPr>
                  <a:t>5</a:t>
                </a:r>
                <a:endParaRPr lang="en-US" sz="240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68FC36C1-1A4A-4772-9F76-F6E79FFFE7D7}"/>
                </a:ext>
              </a:extLst>
            </p:cNvPr>
            <p:cNvGrpSpPr/>
            <p:nvPr/>
          </p:nvGrpSpPr>
          <p:grpSpPr>
            <a:xfrm>
              <a:off x="716757" y="3561424"/>
              <a:ext cx="4629150" cy="643150"/>
              <a:chOff x="716757" y="3987592"/>
              <a:chExt cx="4629150" cy="643150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CB083301-2FBA-4AEB-9B1D-C99C0256F226}"/>
                  </a:ext>
                </a:extLst>
              </p:cNvPr>
              <p:cNvSpPr/>
              <p:nvPr/>
            </p:nvSpPr>
            <p:spPr>
              <a:xfrm>
                <a:off x="716757" y="3987592"/>
                <a:ext cx="4629150" cy="64008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>
                    <a:solidFill>
                      <a:schemeClr val="tx1"/>
                    </a:solidFill>
                  </a:rPr>
                  <a:t>Completes per day per tech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A6846B57-68B7-4E93-A282-46DDC154BE02}"/>
                  </a:ext>
                </a:extLst>
              </p:cNvPr>
              <p:cNvSpPr/>
              <p:nvPr/>
            </p:nvSpPr>
            <p:spPr>
              <a:xfrm>
                <a:off x="4243386" y="3990662"/>
                <a:ext cx="1095375" cy="64008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>
                    <a:solidFill>
                      <a:schemeClr val="tx1"/>
                    </a:solidFill>
                  </a:rPr>
                  <a:t>2</a:t>
                </a:r>
                <a:endParaRPr lang="en-US" sz="2400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BBA97214-F3D1-450D-8FAC-3E12C229EC3D}"/>
              </a:ext>
            </a:extLst>
          </p:cNvPr>
          <p:cNvGrpSpPr/>
          <p:nvPr/>
        </p:nvGrpSpPr>
        <p:grpSpPr>
          <a:xfrm>
            <a:off x="1442441" y="1410869"/>
            <a:ext cx="1306116" cy="1088142"/>
            <a:chOff x="1314448" y="1464246"/>
            <a:chExt cx="1306116" cy="1088142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9CAD18C4-0903-4BB9-B167-FE6743660130}"/>
                </a:ext>
              </a:extLst>
            </p:cNvPr>
            <p:cNvSpPr/>
            <p:nvPr/>
          </p:nvSpPr>
          <p:spPr>
            <a:xfrm>
              <a:off x="1314448" y="1464246"/>
              <a:ext cx="1306116" cy="65108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>
                  <a:solidFill>
                    <a:schemeClr val="accent1"/>
                  </a:solidFill>
                </a:rPr>
                <a:t>70 miles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A256E73E-2836-4FCA-9D32-43606E9A1A45}"/>
                </a:ext>
              </a:extLst>
            </p:cNvPr>
            <p:cNvSpPr/>
            <p:nvPr/>
          </p:nvSpPr>
          <p:spPr>
            <a:xfrm>
              <a:off x="1314448" y="1901305"/>
              <a:ext cx="1306116" cy="65108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*Avg miles tech drives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588FCD8-9E7A-4829-9887-3D783475E234}"/>
              </a:ext>
            </a:extLst>
          </p:cNvPr>
          <p:cNvGrpSpPr/>
          <p:nvPr/>
        </p:nvGrpSpPr>
        <p:grpSpPr>
          <a:xfrm>
            <a:off x="3381967" y="1410869"/>
            <a:ext cx="1306116" cy="1080136"/>
            <a:chOff x="3751658" y="1464246"/>
            <a:chExt cx="1306116" cy="1080136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8AE9A97-C8E0-4095-B41B-B489500A264C}"/>
                </a:ext>
              </a:extLst>
            </p:cNvPr>
            <p:cNvSpPr/>
            <p:nvPr/>
          </p:nvSpPr>
          <p:spPr>
            <a:xfrm>
              <a:off x="3751658" y="1464246"/>
              <a:ext cx="1306116" cy="65108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>
                  <a:solidFill>
                    <a:schemeClr val="accent1"/>
                  </a:solidFill>
                </a:rPr>
                <a:t>2 hours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6FDCC2BE-A4D2-4FEA-99AD-FD84792247C6}"/>
                </a:ext>
              </a:extLst>
            </p:cNvPr>
            <p:cNvSpPr/>
            <p:nvPr/>
          </p:nvSpPr>
          <p:spPr>
            <a:xfrm>
              <a:off x="3751658" y="1957676"/>
              <a:ext cx="1306116" cy="58670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*Avg duration tech drives</a:t>
              </a: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21E6A0A-6BBD-4D86-A5CB-E8CE50D8DA2E}"/>
              </a:ext>
            </a:extLst>
          </p:cNvPr>
          <p:cNvSpPr txBox="1"/>
          <p:nvPr/>
        </p:nvSpPr>
        <p:spPr>
          <a:xfrm>
            <a:off x="949254" y="5919772"/>
            <a:ext cx="4539527" cy="200055"/>
          </a:xfrm>
          <a:prstGeom prst="rect">
            <a:avLst/>
          </a:prstGeom>
          <a:noFill/>
        </p:spPr>
        <p:txBody>
          <a:bodyPr wrap="square" lIns="0" rIns="0" bIns="0" rtlCol="0">
            <a:spAutoFit/>
          </a:bodyPr>
          <a:lstStyle/>
          <a:p>
            <a:pPr algn="l"/>
            <a:r>
              <a:rPr lang="en-US" sz="1000">
                <a:cs typeface="Georgia"/>
              </a:rPr>
              <a:t>* Avg miles and Avg durations are calculated using simulations</a:t>
            </a:r>
          </a:p>
        </p:txBody>
      </p:sp>
      <p:sp>
        <p:nvSpPr>
          <p:cNvPr id="4" name="Rectangular Callout 3">
            <a:extLst>
              <a:ext uri="{FF2B5EF4-FFF2-40B4-BE49-F238E27FC236}">
                <a16:creationId xmlns:a16="http://schemas.microsoft.com/office/drawing/2014/main" id="{FDA506B1-FADA-E098-2D61-48A556840534}"/>
              </a:ext>
            </a:extLst>
          </p:cNvPr>
          <p:cNvSpPr/>
          <p:nvPr/>
        </p:nvSpPr>
        <p:spPr>
          <a:xfrm>
            <a:off x="7032396" y="1520617"/>
            <a:ext cx="2158738" cy="541335"/>
          </a:xfrm>
          <a:prstGeom prst="wedgeRectCallout">
            <a:avLst>
              <a:gd name="adj1" fmla="val -54353"/>
              <a:gd name="adj2" fmla="val 104294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>
                <a:solidFill>
                  <a:schemeClr val="bg1"/>
                </a:solidFill>
                <a:cs typeface="Georgia"/>
              </a:rPr>
              <a:t>Islands near Sandusky take entire day to travel.</a:t>
            </a:r>
            <a:endParaRPr lang="en-US" sz="105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9187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A7E1D4-31B4-894A-BD06-C7F3027704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eveland market coverage – Proposed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43A08B8E-01B9-4F4A-AACB-C15962EA5AF3}"/>
              </a:ext>
            </a:extLst>
          </p:cNvPr>
          <p:cNvGrpSpPr/>
          <p:nvPr/>
        </p:nvGrpSpPr>
        <p:grpSpPr>
          <a:xfrm>
            <a:off x="6879432" y="3638024"/>
            <a:ext cx="4629150" cy="640080"/>
            <a:chOff x="716757" y="2234992"/>
            <a:chExt cx="4629150" cy="640080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52ECA8D1-6C43-4BF5-B71F-AE27E718309E}"/>
                </a:ext>
              </a:extLst>
            </p:cNvPr>
            <p:cNvSpPr/>
            <p:nvPr/>
          </p:nvSpPr>
          <p:spPr>
            <a:xfrm>
              <a:off x="716757" y="2234992"/>
              <a:ext cx="4629150" cy="64008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>
                  <a:solidFill>
                    <a:schemeClr val="tx1"/>
                  </a:solidFill>
                </a:rPr>
                <a:t>                            80% of current job volume is covered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EF20D91-822A-4000-B70C-5781459B97BF}"/>
                </a:ext>
              </a:extLst>
            </p:cNvPr>
            <p:cNvSpPr/>
            <p:nvPr/>
          </p:nvSpPr>
          <p:spPr>
            <a:xfrm>
              <a:off x="716757" y="2234992"/>
              <a:ext cx="1095375" cy="64008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>
                  <a:solidFill>
                    <a:schemeClr val="tx1"/>
                  </a:solidFill>
                </a:rPr>
                <a:t>2,554</a:t>
              </a:r>
              <a:endParaRPr lang="en-US" sz="2400">
                <a:solidFill>
                  <a:schemeClr val="tx1"/>
                </a:solidFill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365A69F3-05B8-480D-8B78-00BA90BF5AE3}"/>
              </a:ext>
            </a:extLst>
          </p:cNvPr>
          <p:cNvGrpSpPr/>
          <p:nvPr/>
        </p:nvGrpSpPr>
        <p:grpSpPr>
          <a:xfrm>
            <a:off x="6879432" y="2882692"/>
            <a:ext cx="4629150" cy="660608"/>
            <a:chOff x="716757" y="1358692"/>
            <a:chExt cx="4629150" cy="660608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741B536B-4571-4F15-A079-8924A6DD7F75}"/>
                </a:ext>
              </a:extLst>
            </p:cNvPr>
            <p:cNvSpPr/>
            <p:nvPr/>
          </p:nvSpPr>
          <p:spPr>
            <a:xfrm>
              <a:off x="716757" y="1358692"/>
              <a:ext cx="4629150" cy="6510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>
                  <a:solidFill>
                    <a:schemeClr val="tx1"/>
                  </a:solidFill>
                  <a:cs typeface="Georgia"/>
                </a:rPr>
                <a:t>                           Reduce zip codes covered (OEM+D2C)      </a:t>
              </a:r>
              <a:endParaRPr lang="en-US" sz="1600" b="1">
                <a:solidFill>
                  <a:schemeClr val="accent1"/>
                </a:solidFill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6A8BD15A-1CB4-4044-B821-1A34FB6CAA0E}"/>
                </a:ext>
              </a:extLst>
            </p:cNvPr>
            <p:cNvSpPr/>
            <p:nvPr/>
          </p:nvSpPr>
          <p:spPr>
            <a:xfrm>
              <a:off x="716757" y="1368217"/>
              <a:ext cx="1095376" cy="65108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>
                  <a:solidFill>
                    <a:schemeClr val="tx1"/>
                  </a:solidFill>
                </a:rPr>
                <a:t>127</a:t>
              </a:r>
              <a:endParaRPr lang="en-US" sz="2400">
                <a:solidFill>
                  <a:schemeClr val="tx1"/>
                </a:solidFill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A261A2D-CBBD-4AFA-8B38-7E7A722FB806}"/>
              </a:ext>
            </a:extLst>
          </p:cNvPr>
          <p:cNvGrpSpPr/>
          <p:nvPr/>
        </p:nvGrpSpPr>
        <p:grpSpPr>
          <a:xfrm>
            <a:off x="6879431" y="4361724"/>
            <a:ext cx="4629151" cy="651184"/>
            <a:chOff x="716756" y="3111292"/>
            <a:chExt cx="4629151" cy="651184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3CAE069D-D297-4250-9F14-75A965BEA9DC}"/>
                </a:ext>
              </a:extLst>
            </p:cNvPr>
            <p:cNvSpPr/>
            <p:nvPr/>
          </p:nvSpPr>
          <p:spPr>
            <a:xfrm>
              <a:off x="716757" y="3111292"/>
              <a:ext cx="4629150" cy="64008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>
                  <a:solidFill>
                    <a:schemeClr val="tx1"/>
                  </a:solidFill>
                </a:rPr>
                <a:t>                           Add 1-2 bookings to tech’s schedule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886ED100-9517-4447-9E54-B0CE88341F0C}"/>
                </a:ext>
              </a:extLst>
            </p:cNvPr>
            <p:cNvSpPr/>
            <p:nvPr/>
          </p:nvSpPr>
          <p:spPr>
            <a:xfrm>
              <a:off x="716756" y="3122396"/>
              <a:ext cx="1095375" cy="64008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5 + 2</a:t>
              </a:r>
              <a:endParaRPr lang="en-US" sz="2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C524111A-34CD-497A-B4B7-2B5BC0C6AA2C}"/>
              </a:ext>
            </a:extLst>
          </p:cNvPr>
          <p:cNvGrpSpPr/>
          <p:nvPr/>
        </p:nvGrpSpPr>
        <p:grpSpPr>
          <a:xfrm>
            <a:off x="7462241" y="1410869"/>
            <a:ext cx="1306116" cy="1088142"/>
            <a:chOff x="1314448" y="1464246"/>
            <a:chExt cx="1306116" cy="1088142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D4DFA5DD-724A-49AB-AF19-B3DB91AD080D}"/>
                </a:ext>
              </a:extLst>
            </p:cNvPr>
            <p:cNvSpPr/>
            <p:nvPr/>
          </p:nvSpPr>
          <p:spPr>
            <a:xfrm>
              <a:off x="1314448" y="1464246"/>
              <a:ext cx="1306116" cy="65108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>
                  <a:solidFill>
                    <a:schemeClr val="accent1"/>
                  </a:solidFill>
                </a:rPr>
                <a:t>32 miles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EF24E3E5-E500-4B54-85DA-203B5F93C1BB}"/>
                </a:ext>
              </a:extLst>
            </p:cNvPr>
            <p:cNvSpPr/>
            <p:nvPr/>
          </p:nvSpPr>
          <p:spPr>
            <a:xfrm>
              <a:off x="1314448" y="1901305"/>
              <a:ext cx="1306116" cy="65108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Avg miles tech drives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C26AF02A-E971-4CD3-B599-C0788942E4AD}"/>
              </a:ext>
            </a:extLst>
          </p:cNvPr>
          <p:cNvGrpSpPr/>
          <p:nvPr/>
        </p:nvGrpSpPr>
        <p:grpSpPr>
          <a:xfrm>
            <a:off x="9401767" y="1410869"/>
            <a:ext cx="1306116" cy="1146620"/>
            <a:chOff x="3751658" y="1464246"/>
            <a:chExt cx="1306116" cy="1146620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D4B208E1-AAF3-429D-9756-B2F57437B9E4}"/>
                </a:ext>
              </a:extLst>
            </p:cNvPr>
            <p:cNvSpPr/>
            <p:nvPr/>
          </p:nvSpPr>
          <p:spPr>
            <a:xfrm>
              <a:off x="3751658" y="1464246"/>
              <a:ext cx="1306116" cy="65108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>
                  <a:solidFill>
                    <a:schemeClr val="accent1"/>
                  </a:solidFill>
                </a:rPr>
                <a:t>1 hour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F46D956A-79DA-4DBC-A1A8-3A821518D8E7}"/>
                </a:ext>
              </a:extLst>
            </p:cNvPr>
            <p:cNvSpPr/>
            <p:nvPr/>
          </p:nvSpPr>
          <p:spPr>
            <a:xfrm>
              <a:off x="3751658" y="1959783"/>
              <a:ext cx="1306116" cy="65108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Avg duration tech drives</a:t>
              </a: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95C39713-B886-4161-BBCB-9497ED53F6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389" y="1267714"/>
            <a:ext cx="5485892" cy="3887760"/>
          </a:xfrm>
          <a:prstGeom prst="rect">
            <a:avLst/>
          </a:prstGeom>
        </p:spPr>
      </p:pic>
      <p:sp>
        <p:nvSpPr>
          <p:cNvPr id="59" name="Rectangle 58">
            <a:extLst>
              <a:ext uri="{FF2B5EF4-FFF2-40B4-BE49-F238E27FC236}">
                <a16:creationId xmlns:a16="http://schemas.microsoft.com/office/drawing/2014/main" id="{8E941C83-6497-411A-A060-9B7F314CD4C3}"/>
              </a:ext>
            </a:extLst>
          </p:cNvPr>
          <p:cNvSpPr/>
          <p:nvPr/>
        </p:nvSpPr>
        <p:spPr>
          <a:xfrm>
            <a:off x="839388" y="5142062"/>
            <a:ext cx="5485891" cy="89644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>
                <a:solidFill>
                  <a:schemeClr val="tx1"/>
                </a:solidFill>
                <a:cs typeface="Georgia"/>
              </a:rPr>
              <a:t>Each dot represents an Asurion repair from Cleveland market.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72C088E-2543-4C2B-9539-281754DAA321}"/>
              </a:ext>
            </a:extLst>
          </p:cNvPr>
          <p:cNvSpPr txBox="1"/>
          <p:nvPr/>
        </p:nvSpPr>
        <p:spPr>
          <a:xfrm>
            <a:off x="396204" y="3178859"/>
            <a:ext cx="1058128" cy="1061829"/>
          </a:xfrm>
          <a:prstGeom prst="rect">
            <a:avLst/>
          </a:prstGeom>
          <a:noFill/>
        </p:spPr>
        <p:txBody>
          <a:bodyPr wrap="square" lIns="0" rIns="0" bIns="0" rtlCol="0">
            <a:spAutoFit/>
          </a:bodyPr>
          <a:lstStyle/>
          <a:p>
            <a:pPr algn="l"/>
            <a:r>
              <a:rPr lang="en-US" sz="1100">
                <a:cs typeface="Georgia"/>
              </a:rPr>
              <a:t>Reduce coverage to cover T-zone and get 1+ additional jobs scheduled per tech per day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5088B03C-E052-4A26-A928-B8515F8D6B7F}"/>
              </a:ext>
            </a:extLst>
          </p:cNvPr>
          <p:cNvCxnSpPr>
            <a:cxnSpLocks/>
          </p:cNvCxnSpPr>
          <p:nvPr/>
        </p:nvCxnSpPr>
        <p:spPr>
          <a:xfrm flipV="1">
            <a:off x="1284206" y="3322542"/>
            <a:ext cx="1502537" cy="371407"/>
          </a:xfrm>
          <a:prstGeom prst="straightConnector1">
            <a:avLst/>
          </a:prstGeom>
          <a:ln w="28575" cap="rnd">
            <a:solidFill>
              <a:srgbClr val="FF000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6503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oSprVWHS5m6iJd8mPf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jDKRaJbb5s4R5f8wsMaw"/>
</p:tagLst>
</file>

<file path=ppt/theme/theme1.xml><?xml version="1.0" encoding="utf-8"?>
<a:theme xmlns:a="http://schemas.openxmlformats.org/drawingml/2006/main" name="Asurion 2019">
  <a:themeElements>
    <a:clrScheme name="Asurion">
      <a:dk1>
        <a:srgbClr val="000000"/>
      </a:dk1>
      <a:lt1>
        <a:srgbClr val="FFFFFF"/>
      </a:lt1>
      <a:dk2>
        <a:srgbClr val="323C46"/>
      </a:dk2>
      <a:lt2>
        <a:srgbClr val="A5AAAF"/>
      </a:lt2>
      <a:accent1>
        <a:srgbClr val="8223D2"/>
      </a:accent1>
      <a:accent2>
        <a:srgbClr val="6469E1"/>
      </a:accent2>
      <a:accent3>
        <a:srgbClr val="6EFAC3"/>
      </a:accent3>
      <a:accent4>
        <a:srgbClr val="D2FA46"/>
      </a:accent4>
      <a:accent5>
        <a:srgbClr val="000000"/>
      </a:accent5>
      <a:accent6>
        <a:srgbClr val="A5AAAF"/>
      </a:accent6>
      <a:hlink>
        <a:srgbClr val="6469E1"/>
      </a:hlink>
      <a:folHlink>
        <a:srgbClr val="8223D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err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ap="rnd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rIns="0" bIns="0" rtlCol="0">
        <a:spAutoFit/>
      </a:bodyPr>
      <a:lstStyle>
        <a:defPPr algn="l">
          <a:defRPr sz="1000" dirty="0">
            <a:cs typeface="Georgi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surion 2019" id="{6DB052CC-1383-924A-8F22-BDA0DF38857B}" vid="{892F933B-5B6F-8C44-B063-B5A1C1CB0FDD}"/>
    </a:ext>
  </a:extLst>
</a:theme>
</file>

<file path=ppt/theme/theme2.xml><?xml version="1.0" encoding="utf-8"?>
<a:theme xmlns:a="http://schemas.openxmlformats.org/drawingml/2006/main" name="1_Asurion Master Template - May 19">
  <a:themeElements>
    <a:clrScheme name="Asurion">
      <a:dk1>
        <a:srgbClr val="000000"/>
      </a:dk1>
      <a:lt1>
        <a:srgbClr val="FFFFFF"/>
      </a:lt1>
      <a:dk2>
        <a:srgbClr val="323C46"/>
      </a:dk2>
      <a:lt2>
        <a:srgbClr val="A5AAAF"/>
      </a:lt2>
      <a:accent1>
        <a:srgbClr val="8223D2"/>
      </a:accent1>
      <a:accent2>
        <a:srgbClr val="6469E1"/>
      </a:accent2>
      <a:accent3>
        <a:srgbClr val="6EFAC3"/>
      </a:accent3>
      <a:accent4>
        <a:srgbClr val="D2FA46"/>
      </a:accent4>
      <a:accent5>
        <a:srgbClr val="000000"/>
      </a:accent5>
      <a:accent6>
        <a:srgbClr val="A5AAAF"/>
      </a:accent6>
      <a:hlink>
        <a:srgbClr val="6469E1"/>
      </a:hlink>
      <a:folHlink>
        <a:srgbClr val="8223D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err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ap="rnd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rIns="0" bIns="0" rtlCol="0">
        <a:spAutoFit/>
      </a:bodyPr>
      <a:lstStyle>
        <a:defPPr algn="l">
          <a:defRPr sz="1000" dirty="0">
            <a:cs typeface="Georgi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surion PPT Template_RA 6.3_v3.pptx" id="{642F767F-F08B-4470-A11B-354C44FF685B}" vid="{FD1803EF-546D-4F44-98F3-4EBFC98D68D9}"/>
    </a:ext>
  </a:extLst>
</a:theme>
</file>

<file path=ppt/theme/theme3.xml><?xml version="1.0" encoding="utf-8"?>
<a:theme xmlns:a="http://schemas.openxmlformats.org/drawingml/2006/main" name="4_Asurion Master Template - May 19">
  <a:themeElements>
    <a:clrScheme name="Asurion Colors 1_1 1">
      <a:dk1>
        <a:srgbClr val="000000"/>
      </a:dk1>
      <a:lt1>
        <a:srgbClr val="FFFFFF"/>
      </a:lt1>
      <a:dk2>
        <a:srgbClr val="000000"/>
      </a:dk2>
      <a:lt2>
        <a:srgbClr val="333F48"/>
      </a:lt2>
      <a:accent1>
        <a:srgbClr val="8223D2"/>
      </a:accent1>
      <a:accent2>
        <a:srgbClr val="6B8BFF"/>
      </a:accent2>
      <a:accent3>
        <a:srgbClr val="6EFAC3"/>
      </a:accent3>
      <a:accent4>
        <a:srgbClr val="A5AAAF"/>
      </a:accent4>
      <a:accent5>
        <a:srgbClr val="E6E6EB"/>
      </a:accent5>
      <a:accent6>
        <a:srgbClr val="D2FA46"/>
      </a:accent6>
      <a:hlink>
        <a:srgbClr val="002D72"/>
      </a:hlink>
      <a:folHlink>
        <a:srgbClr val="41B6E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err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ap="rnd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rIns="0" bIns="0" rtlCol="0">
        <a:spAutoFit/>
      </a:bodyPr>
      <a:lstStyle>
        <a:defPPr algn="l">
          <a:defRPr sz="1000" dirty="0">
            <a:cs typeface="Georgi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surion PPT Template_Library 1.1" id="{3F351A95-065C-BA4C-A1D6-40F7EFF76B07}" vid="{519A9CD1-36FF-8F43-BB50-035D0D8DA8D9}"/>
    </a:ext>
  </a:extLst>
</a:theme>
</file>

<file path=ppt/theme/theme4.xml><?xml version="1.0" encoding="utf-8"?>
<a:theme xmlns:a="http://schemas.openxmlformats.org/drawingml/2006/main" name="2_Asurion Master Template - May 19">
  <a:themeElements>
    <a:clrScheme name="Asurion">
      <a:dk1>
        <a:srgbClr val="000000"/>
      </a:dk1>
      <a:lt1>
        <a:srgbClr val="FFFFFF"/>
      </a:lt1>
      <a:dk2>
        <a:srgbClr val="323C46"/>
      </a:dk2>
      <a:lt2>
        <a:srgbClr val="A5AAAF"/>
      </a:lt2>
      <a:accent1>
        <a:srgbClr val="8223D2"/>
      </a:accent1>
      <a:accent2>
        <a:srgbClr val="6469E1"/>
      </a:accent2>
      <a:accent3>
        <a:srgbClr val="6EFAC3"/>
      </a:accent3>
      <a:accent4>
        <a:srgbClr val="D2FA46"/>
      </a:accent4>
      <a:accent5>
        <a:srgbClr val="000000"/>
      </a:accent5>
      <a:accent6>
        <a:srgbClr val="A5AAAF"/>
      </a:accent6>
      <a:hlink>
        <a:srgbClr val="6469E1"/>
      </a:hlink>
      <a:folHlink>
        <a:srgbClr val="8223D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err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ap="rnd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rIns="0" bIns="0" rtlCol="0">
        <a:spAutoFit/>
      </a:bodyPr>
      <a:lstStyle>
        <a:defPPr algn="l">
          <a:defRPr sz="1000" dirty="0">
            <a:cs typeface="Georgi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surion PPT Template_RA 6.3_v3.pptx" id="{642F767F-F08B-4470-A11B-354C44FF685B}" vid="{FD1803EF-546D-4F44-98F3-4EBFC98D68D9}"/>
    </a:ext>
  </a:extLst>
</a:theme>
</file>

<file path=ppt/theme/theme5.xml><?xml version="1.0" encoding="utf-8"?>
<a:theme xmlns:a="http://schemas.openxmlformats.org/drawingml/2006/main" name="3_Asurion Master Template - May 19">
  <a:themeElements>
    <a:clrScheme name="Asurion">
      <a:dk1>
        <a:srgbClr val="000000"/>
      </a:dk1>
      <a:lt1>
        <a:srgbClr val="FFFFFF"/>
      </a:lt1>
      <a:dk2>
        <a:srgbClr val="323C46"/>
      </a:dk2>
      <a:lt2>
        <a:srgbClr val="A5AAAF"/>
      </a:lt2>
      <a:accent1>
        <a:srgbClr val="8223D2"/>
      </a:accent1>
      <a:accent2>
        <a:srgbClr val="6469E1"/>
      </a:accent2>
      <a:accent3>
        <a:srgbClr val="6EFAC3"/>
      </a:accent3>
      <a:accent4>
        <a:srgbClr val="D2FA46"/>
      </a:accent4>
      <a:accent5>
        <a:srgbClr val="000000"/>
      </a:accent5>
      <a:accent6>
        <a:srgbClr val="A5AAAF"/>
      </a:accent6>
      <a:hlink>
        <a:srgbClr val="6469E1"/>
      </a:hlink>
      <a:folHlink>
        <a:srgbClr val="8223D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5_Asurion Master Template - May 19">
  <a:themeElements>
    <a:clrScheme name="Asurion">
      <a:dk1>
        <a:srgbClr val="000000"/>
      </a:dk1>
      <a:lt1>
        <a:srgbClr val="FFFFFF"/>
      </a:lt1>
      <a:dk2>
        <a:srgbClr val="323C46"/>
      </a:dk2>
      <a:lt2>
        <a:srgbClr val="A5AAAF"/>
      </a:lt2>
      <a:accent1>
        <a:srgbClr val="8223D2"/>
      </a:accent1>
      <a:accent2>
        <a:srgbClr val="6469E1"/>
      </a:accent2>
      <a:accent3>
        <a:srgbClr val="6EFAC3"/>
      </a:accent3>
      <a:accent4>
        <a:srgbClr val="D2FA46"/>
      </a:accent4>
      <a:accent5>
        <a:srgbClr val="000000"/>
      </a:accent5>
      <a:accent6>
        <a:srgbClr val="A5AAAF"/>
      </a:accent6>
      <a:hlink>
        <a:srgbClr val="6469E1"/>
      </a:hlink>
      <a:folHlink>
        <a:srgbClr val="8223D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d176fefe-83de-4b32-859d-542d6c2f6125}" enabled="1" method="Standard" siteId="{64e5ad32-cb04-44df-8896-bed5d7792429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Asurion 2019</Template>
  <TotalTime>0</TotalTime>
  <Words>1994</Words>
  <Application>Microsoft Office PowerPoint</Application>
  <PresentationFormat>Widescreen</PresentationFormat>
  <Paragraphs>468</Paragraphs>
  <Slides>23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7" baseType="lpstr">
      <vt:lpstr>Apercu Pro</vt:lpstr>
      <vt:lpstr>Apercu Pro Light</vt:lpstr>
      <vt:lpstr>Arial</vt:lpstr>
      <vt:lpstr>Calibri</vt:lpstr>
      <vt:lpstr>Calibri Light</vt:lpstr>
      <vt:lpstr>Comic Sans MS</vt:lpstr>
      <vt:lpstr>Courier New</vt:lpstr>
      <vt:lpstr>Asurion 2019</vt:lpstr>
      <vt:lpstr>1_Asurion Master Template - May 19</vt:lpstr>
      <vt:lpstr>4_Asurion Master Template - May 19</vt:lpstr>
      <vt:lpstr>2_Asurion Master Template - May 19</vt:lpstr>
      <vt:lpstr>3_Asurion Master Template - May 19</vt:lpstr>
      <vt:lpstr>5_Asurion Master Template - May 19</vt:lpstr>
      <vt:lpstr>think-cell Slide</vt:lpstr>
      <vt:lpstr>Major Appliance Network Optimization</vt:lpstr>
      <vt:lpstr>Network Optimization</vt:lpstr>
      <vt:lpstr>Workstreams</vt:lpstr>
      <vt:lpstr>Demo: MAZO App</vt:lpstr>
      <vt:lpstr>KPIs Impacted (March YTD)</vt:lpstr>
      <vt:lpstr>KPIs Impacted - Completes per tech per day </vt:lpstr>
      <vt:lpstr>Zone Optimization</vt:lpstr>
      <vt:lpstr>Cleveland market coverage</vt:lpstr>
      <vt:lpstr>Cleveland market coverage – Proposed</vt:lpstr>
      <vt:lpstr>Kansas city coverage</vt:lpstr>
      <vt:lpstr>Kansas city coverage - Proposed</vt:lpstr>
      <vt:lpstr>Pilot proposal</vt:lpstr>
      <vt:lpstr>Appendix</vt:lpstr>
      <vt:lpstr>Reduce market coverage – Concerns</vt:lpstr>
      <vt:lpstr>Demand/Capacity Forecasting</vt:lpstr>
      <vt:lpstr>Capacity based Marketing campaigns</vt:lpstr>
      <vt:lpstr>Potential</vt:lpstr>
      <vt:lpstr>Network app rollout</vt:lpstr>
      <vt:lpstr>Why to optimize network?</vt:lpstr>
      <vt:lpstr>Tech Radii</vt:lpstr>
      <vt:lpstr>What’s next with App</vt:lpstr>
      <vt:lpstr>Current setup and opportunities</vt:lpstr>
      <vt:lpstr>Current setup and opportuniti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jor Appliance Zone Engine</dc:title>
  <dc:creator>Kirby, Chris</dc:creator>
  <cp:lastModifiedBy>Deshmukh, Ruta</cp:lastModifiedBy>
  <cp:revision>2</cp:revision>
  <dcterms:created xsi:type="dcterms:W3CDTF">2022-01-26T11:49:49Z</dcterms:created>
  <dcterms:modified xsi:type="dcterms:W3CDTF">2022-04-25T21:36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Office Theme:8</vt:lpwstr>
  </property>
  <property fmtid="{D5CDD505-2E9C-101B-9397-08002B2CF9AE}" pid="3" name="ClassificationContentMarkingFooterText">
    <vt:lpwstr>Asurion_Internal_Use_Only</vt:lpwstr>
  </property>
  <property fmtid="{D5CDD505-2E9C-101B-9397-08002B2CF9AE}" pid="4" name="MSIP_Label_d176fefe-83de-4b32-859d-542d6c2f6125_Enabled">
    <vt:lpwstr>true</vt:lpwstr>
  </property>
  <property fmtid="{D5CDD505-2E9C-101B-9397-08002B2CF9AE}" pid="5" name="MSIP_Label_d176fefe-83de-4b32-859d-542d6c2f6125_SetDate">
    <vt:lpwstr>2022-02-23T04:33:33Z</vt:lpwstr>
  </property>
  <property fmtid="{D5CDD505-2E9C-101B-9397-08002B2CF9AE}" pid="6" name="MSIP_Label_d176fefe-83de-4b32-859d-542d6c2f6125_Method">
    <vt:lpwstr>Standard</vt:lpwstr>
  </property>
  <property fmtid="{D5CDD505-2E9C-101B-9397-08002B2CF9AE}" pid="7" name="MSIP_Label_d176fefe-83de-4b32-859d-542d6c2f6125_Name">
    <vt:lpwstr>General</vt:lpwstr>
  </property>
  <property fmtid="{D5CDD505-2E9C-101B-9397-08002B2CF9AE}" pid="8" name="MSIP_Label_d176fefe-83de-4b32-859d-542d6c2f6125_SiteId">
    <vt:lpwstr>64e5ad32-cb04-44df-8896-bed5d7792429</vt:lpwstr>
  </property>
  <property fmtid="{D5CDD505-2E9C-101B-9397-08002B2CF9AE}" pid="9" name="MSIP_Label_d176fefe-83de-4b32-859d-542d6c2f6125_ActionId">
    <vt:lpwstr>8c7ae39c-e9af-448e-8c48-b5ceb528cada</vt:lpwstr>
  </property>
  <property fmtid="{D5CDD505-2E9C-101B-9397-08002B2CF9AE}" pid="10" name="MSIP_Label_d176fefe-83de-4b32-859d-542d6c2f6125_ContentBits">
    <vt:lpwstr>2</vt:lpwstr>
  </property>
</Properties>
</file>